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2" r:id="rId1"/>
    <p:sldMasterId id="2147484341" r:id="rId2"/>
    <p:sldMasterId id="2147484359" r:id="rId3"/>
    <p:sldMasterId id="2147484390" r:id="rId4"/>
    <p:sldMasterId id="2147484399" r:id="rId5"/>
    <p:sldMasterId id="2147484424" r:id="rId6"/>
  </p:sldMasterIdLst>
  <p:notesMasterIdLst>
    <p:notesMasterId r:id="rId13"/>
  </p:notesMasterIdLst>
  <p:handoutMasterIdLst>
    <p:handoutMasterId r:id="rId14"/>
  </p:handoutMasterIdLst>
  <p:sldIdLst>
    <p:sldId id="271" r:id="rId7"/>
    <p:sldId id="816" r:id="rId8"/>
    <p:sldId id="818" r:id="rId9"/>
    <p:sldId id="819" r:id="rId10"/>
    <p:sldId id="815" r:id="rId11"/>
    <p:sldId id="817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AD0F"/>
    <a:srgbClr val="FFFF99"/>
    <a:srgbClr val="66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51" autoAdjust="0"/>
    <p:restoredTop sz="90291" autoAdjust="0"/>
  </p:normalViewPr>
  <p:slideViewPr>
    <p:cSldViewPr snapToGrid="0" snapToObjects="1">
      <p:cViewPr varScale="1">
        <p:scale>
          <a:sx n="80" d="100"/>
          <a:sy n="80" d="100"/>
        </p:scale>
        <p:origin x="1326" y="84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309FBF8-E2AC-45D9-B9F7-DC8D89911BE0}" type="datetimeFigureOut">
              <a:rPr lang="en-US" altLang="en-US"/>
              <a:pPr/>
              <a:t>5/3/2018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FEEB01A-6C08-4DEA-BCD2-C1F7F039681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37274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D61E6-407F-4D41-AC70-006BEC13C5B6}" type="datetimeFigureOut">
              <a:rPr lang="en-US" smtClean="0"/>
              <a:t>5/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0033-AFDE-4987-BFC9-6809737D37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7B0AF7-F204-4BDC-859F-1E2AE3273AF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30790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92924" y="4601938"/>
            <a:ext cx="2133600" cy="201791"/>
          </a:xfrm>
        </p:spPr>
        <p:txBody>
          <a:bodyPr/>
          <a:lstStyle>
            <a:lvl1pPr algn="l">
              <a:defRPr sz="1575"/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2928" y="4795681"/>
            <a:ext cx="1572381" cy="319296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r>
              <a:rPr lang="en-US" sz="1275" b="1" spc="39" dirty="0">
                <a:solidFill>
                  <a:srgbClr val="FFFFFF"/>
                </a:solidFill>
                <a:latin typeface="+mj-lt"/>
              </a:rPr>
              <a:t>CONFIDENTIA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91341" y="3837727"/>
            <a:ext cx="4179055" cy="602307"/>
          </a:xfrm>
          <a:prstGeom prst="rect">
            <a:avLst/>
          </a:prstGeom>
        </p:spPr>
        <p:txBody>
          <a:bodyPr vert="horz" lIns="162547" tIns="81273" rIns="162547" bIns="81273" anchor="b"/>
          <a:lstStyle>
            <a:lvl1pPr marL="0" marR="0" indent="0" algn="r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spc="0" baseline="0">
                <a:solidFill>
                  <a:srgbClr val="FFFFFF"/>
                </a:solidFill>
              </a:defRPr>
            </a:lvl1pPr>
          </a:lstStyle>
          <a:p>
            <a:pPr marL="0" marR="0" lvl="0" indent="0" algn="r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is Is A Presentation Title That Can Go On Two Lin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666440" y="4450361"/>
            <a:ext cx="2003955" cy="348780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indent="0" algn="r">
              <a:lnSpc>
                <a:spcPct val="90000"/>
              </a:lnSpc>
              <a:buNone/>
              <a:defRPr sz="2175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66440" y="4799140"/>
            <a:ext cx="2003955" cy="234092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indent="0" algn="r">
              <a:lnSpc>
                <a:spcPct val="90000"/>
              </a:lnSpc>
              <a:buNone/>
              <a:defRPr sz="1575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692200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ople Tit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63" y="366713"/>
            <a:ext cx="5276850" cy="553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6"/>
          <p:cNvSpPr>
            <a:spLocks noGrp="1"/>
          </p:cNvSpPr>
          <p:nvPr>
            <p:ph sz="quarter" idx="11"/>
          </p:nvPr>
        </p:nvSpPr>
        <p:spPr>
          <a:xfrm>
            <a:off x="2641600" y="4200526"/>
            <a:ext cx="5918200" cy="6191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 typeface="Arial"/>
              <a:buNone/>
              <a:defRPr baseline="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5" name="Content Placeholder 9"/>
          <p:cNvSpPr>
            <a:spLocks noGrp="1"/>
          </p:cNvSpPr>
          <p:nvPr>
            <p:ph sz="quarter" idx="12"/>
          </p:nvPr>
        </p:nvSpPr>
        <p:spPr>
          <a:xfrm>
            <a:off x="246064" y="4371975"/>
            <a:ext cx="1900237" cy="50482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384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49666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28934"/>
            <a:ext cx="8686800" cy="3774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0" y="857250"/>
            <a:ext cx="4267200" cy="3771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857250"/>
            <a:ext cx="4267200" cy="37719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30291" y="4760335"/>
            <a:ext cx="2133600" cy="27384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B370CB-663B-4AA4-937A-E9AAF5BD64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0558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:\2011 NEW Flextronics Branding\Powerpoint Template\Rock Function\Picture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4623198"/>
            <a:ext cx="9159876" cy="52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 flipH="1">
            <a:off x="457200" y="653653"/>
            <a:ext cx="8707438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 bwMode="auto">
          <a:xfrm>
            <a:off x="8747125" y="4491663"/>
            <a:ext cx="406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fld id="{3E4B5AEF-43E1-47D7-A17C-E76F8A75B9B9}" type="slidenum">
              <a:rPr lang="en-GB" altLang="en-US" sz="800"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en-GB" alt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8000" y="891241"/>
            <a:ext cx="8439727" cy="31312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108347"/>
            <a:ext cx="8459788" cy="37980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366"/>
                </a:solidFill>
                <a:latin typeface="Arial" pitchFamily="34" charset="0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32294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 flipH="1">
            <a:off x="457200" y="653653"/>
            <a:ext cx="8707438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iei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644628"/>
            <a:ext cx="9144000" cy="49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 userDrawn="1"/>
        </p:nvSpPr>
        <p:spPr bwMode="auto">
          <a:xfrm>
            <a:off x="8758238" y="4491663"/>
            <a:ext cx="406400" cy="215444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 anchor="ctr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fld id="{FC1E021F-973A-4147-9516-6796488F3DAD}" type="slidenum">
              <a:rPr lang="en-GB" sz="80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pPr algn="ctr">
                <a:lnSpc>
                  <a:spcPct val="100000"/>
                </a:lnSpc>
                <a:defRPr/>
              </a:pPr>
              <a:t>‹#›</a:t>
            </a:fld>
            <a:endParaRPr lang="en-GB" sz="80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457200" y="108347"/>
            <a:ext cx="8459788" cy="379809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878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36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Presenta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1097756"/>
            <a:ext cx="3549650" cy="2130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 userDrawn="1"/>
        </p:nvSpPr>
        <p:spPr>
          <a:xfrm>
            <a:off x="3209926" y="1097756"/>
            <a:ext cx="5954713" cy="2130029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8737600" y="4496426"/>
            <a:ext cx="406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prstTxWarp prst="textNoShape">
              <a:avLst/>
            </a:prstTxWarp>
            <a:spAutoFit/>
          </a:bodyPr>
          <a:lstStyle/>
          <a:p>
            <a:pPr algn="ctr"/>
            <a:fld id="{43CA5D79-F234-0C4E-BF76-903AFE780C5C}" type="slidenum">
              <a:rPr lang="en-GB" sz="800">
                <a:latin typeface="Arial" pitchFamily="21" charset="0"/>
              </a:rPr>
              <a:pPr algn="ctr"/>
              <a:t>‹#›</a:t>
            </a:fld>
            <a:endParaRPr lang="en-GB" sz="800">
              <a:latin typeface="Arial" pitchFamily="21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365058" y="1514387"/>
            <a:ext cx="5191569" cy="858441"/>
          </a:xfrm>
        </p:spPr>
        <p:txBody>
          <a:bodyPr>
            <a:normAutofit/>
          </a:bodyPr>
          <a:lstStyle>
            <a:lvl1pPr algn="l">
              <a:defRPr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912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209926" y="1097756"/>
            <a:ext cx="5954713" cy="2130029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097756"/>
            <a:ext cx="3209925" cy="213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 bwMode="auto">
          <a:xfrm>
            <a:off x="8747125" y="4491663"/>
            <a:ext cx="406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fld id="{43DFF073-5126-4B90-BCE6-AD77B567CF8E}" type="slidenum">
              <a:rPr lang="en-GB" altLang="en-US" sz="800"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en-GB" altLang="en-US" sz="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3" descr="I:\2011 NEW Flextronics Branding\Powerpoint Template\Rock Function\Picture1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4623198"/>
            <a:ext cx="9159876" cy="52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365058" y="1514387"/>
            <a:ext cx="5191569" cy="858441"/>
          </a:xfrm>
        </p:spPr>
        <p:txBody>
          <a:bodyPr>
            <a:normAutofit/>
          </a:bodyPr>
          <a:lstStyle>
            <a:lvl1pPr algn="l">
              <a:defRPr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366"/>
                </a:solidFill>
                <a:latin typeface="Arial" pitchFamily="34" charset="0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286081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I:\2011 NEW Flextronics Branding\Powerpoint Template\Rock Function\Picture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4623198"/>
            <a:ext cx="9159876" cy="52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457200" y="653653"/>
            <a:ext cx="8707438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 bwMode="auto">
          <a:xfrm>
            <a:off x="8747125" y="4491663"/>
            <a:ext cx="406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fld id="{8EADDADA-6390-40B5-8BCC-FE967537D896}" type="slidenum">
              <a:rPr lang="en-GB" altLang="en-US" sz="800"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en-GB" alt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37114" y="1047750"/>
            <a:ext cx="2009775" cy="1004888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n-GB" noProof="0"/>
              <a:t>Drag picture to placeholder or click icon to add</a:t>
            </a:r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936720" y="1047750"/>
            <a:ext cx="2009775" cy="1004888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n-GB" noProof="0"/>
              <a:t>Drag picture to placeholder or click icon to add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37546" y="2139702"/>
            <a:ext cx="4120494" cy="2016662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n-GB" noProof="0"/>
              <a:t>Drag picture to placeholder or click icon to add</a:t>
            </a:r>
            <a:endParaRPr lang="en-US" noProof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8727" y="1047750"/>
            <a:ext cx="4237182" cy="310861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itle 5"/>
          <p:cNvSpPr>
            <a:spLocks noGrp="1"/>
          </p:cNvSpPr>
          <p:nvPr>
            <p:ph type="title"/>
          </p:nvPr>
        </p:nvSpPr>
        <p:spPr>
          <a:xfrm>
            <a:off x="457200" y="108347"/>
            <a:ext cx="8459788" cy="379809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366"/>
                </a:solidFill>
                <a:latin typeface="Arial" pitchFamily="34" charset="0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66374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I:\2011 NEW Flextronics Branding\Powerpoint Template\Rock Function\Picture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4623198"/>
            <a:ext cx="9159876" cy="52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 flipH="1">
            <a:off x="457200" y="653653"/>
            <a:ext cx="8707438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 bwMode="auto">
          <a:xfrm>
            <a:off x="8747125" y="4491663"/>
            <a:ext cx="406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fld id="{5D1BA84A-E1BD-404E-90EA-0EE892A426A6}" type="slidenum">
              <a:rPr lang="en-GB" altLang="en-US" sz="800"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en-GB" alt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2"/>
          </p:nvPr>
        </p:nvSpPr>
        <p:spPr>
          <a:xfrm>
            <a:off x="3786621" y="1376904"/>
            <a:ext cx="5126470" cy="2285891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28" y="1387526"/>
            <a:ext cx="3278909" cy="21386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itle 5"/>
          <p:cNvSpPr>
            <a:spLocks noGrp="1"/>
          </p:cNvSpPr>
          <p:nvPr>
            <p:ph type="title"/>
          </p:nvPr>
        </p:nvSpPr>
        <p:spPr>
          <a:xfrm>
            <a:off x="457200" y="108347"/>
            <a:ext cx="8459788" cy="379809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3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366"/>
                </a:solidFill>
                <a:latin typeface="Arial" pitchFamily="34" charset="0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4916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lt 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11"/>
          </p:nvPr>
        </p:nvSpPr>
        <p:spPr>
          <a:xfrm>
            <a:off x="92924" y="4601938"/>
            <a:ext cx="2133600" cy="201791"/>
          </a:xfrm>
        </p:spPr>
        <p:txBody>
          <a:bodyPr/>
          <a:lstStyle>
            <a:lvl1pPr algn="l">
              <a:defRPr sz="1575"/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2928" y="4795681"/>
            <a:ext cx="1572381" cy="319296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r>
              <a:rPr lang="en-US" sz="1275" b="1" spc="39" dirty="0">
                <a:solidFill>
                  <a:srgbClr val="FFFFFF"/>
                </a:solidFill>
                <a:latin typeface="+mj-lt"/>
              </a:rPr>
              <a:t>CONFIDENTIA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91341" y="3507329"/>
            <a:ext cx="4179055" cy="602307"/>
          </a:xfrm>
          <a:prstGeom prst="rect">
            <a:avLst/>
          </a:prstGeom>
        </p:spPr>
        <p:txBody>
          <a:bodyPr vert="horz" lIns="162547" tIns="81273" rIns="162547" bIns="81273" anchor="b"/>
          <a:lstStyle>
            <a:lvl1pPr marL="0" marR="0" indent="0" algn="r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spc="0" baseline="0">
                <a:solidFill>
                  <a:srgbClr val="FFFFFF"/>
                </a:solidFill>
              </a:defRPr>
            </a:lvl1pPr>
          </a:lstStyle>
          <a:p>
            <a:pPr marL="0" marR="0" lvl="0" indent="0" algn="r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is Is A Presentation Title That Can Go On Two Lin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666440" y="4119962"/>
            <a:ext cx="2003955" cy="348780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indent="0" algn="r">
              <a:lnSpc>
                <a:spcPct val="90000"/>
              </a:lnSpc>
              <a:buNone/>
              <a:defRPr sz="2175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66440" y="4468742"/>
            <a:ext cx="2003955" cy="234092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indent="0" algn="r">
              <a:lnSpc>
                <a:spcPct val="90000"/>
              </a:lnSpc>
              <a:buNone/>
              <a:defRPr sz="1575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365379"/>
            <a:ext cx="8229600" cy="458863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>
              <a:defRPr sz="4275" b="1" spc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352120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:\2011 NEW Flextronics Branding\Powerpoint Template\Rock Function\Picture1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4623198"/>
            <a:ext cx="9159876" cy="52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614" y="1372792"/>
            <a:ext cx="4308475" cy="2069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 flipH="1">
            <a:off x="457200" y="653653"/>
            <a:ext cx="8707438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6"/>
          <p:cNvSpPr txBox="1"/>
          <p:nvPr userDrawn="1"/>
        </p:nvSpPr>
        <p:spPr bwMode="auto">
          <a:xfrm>
            <a:off x="8747125" y="4491663"/>
            <a:ext cx="406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fld id="{58DF28EC-D576-4E1E-9817-C48B42AE5AD0}" type="slidenum">
              <a:rPr lang="en-GB" altLang="en-US" sz="800"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en-GB" alt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27" y="1384679"/>
            <a:ext cx="3948546" cy="19442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itle 5"/>
          <p:cNvSpPr>
            <a:spLocks noGrp="1"/>
          </p:cNvSpPr>
          <p:nvPr>
            <p:ph type="title"/>
          </p:nvPr>
        </p:nvSpPr>
        <p:spPr>
          <a:xfrm>
            <a:off x="457200" y="108347"/>
            <a:ext cx="8459788" cy="379809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376238" y="4563666"/>
            <a:ext cx="2895600" cy="1702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366"/>
                </a:solidFill>
                <a:latin typeface="Arial" pitchFamily="34" charset="0"/>
              </a:defRPr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16270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Heav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8121596" y="4796237"/>
            <a:ext cx="75693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Confidential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40541" y="3003211"/>
            <a:ext cx="2911929" cy="144094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240541" y="1488017"/>
            <a:ext cx="2911929" cy="144094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240541" y="-19050"/>
            <a:ext cx="2911929" cy="1440942"/>
          </a:xfrm>
          <a:prstGeom prst="rect">
            <a:avLst/>
          </a:prstGeom>
        </p:spPr>
        <p:txBody>
          <a:bodyPr/>
          <a:lstStyle>
            <a:lvl1pPr marL="0" marR="0" indent="0" algn="ctr" defTabSz="40817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-8468" y="437254"/>
            <a:ext cx="427654" cy="11497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496" tIns="31748" rIns="63496" bIns="31748" rtlCol="0"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</a:pPr>
            <a:endParaRPr lang="en-US" sz="2175" baseline="-25000" dirty="0">
              <a:solidFill>
                <a:srgbClr val="1F497D"/>
              </a:solidFill>
            </a:endParaRPr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86622" y="233045"/>
            <a:ext cx="5449358" cy="454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HEADER TEX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44286" y="804864"/>
            <a:ext cx="5416777" cy="3636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408174" indent="0">
              <a:buNone/>
              <a:defRPr sz="1400"/>
            </a:lvl2pPr>
            <a:lvl3pPr marL="1020434" indent="-204087">
              <a:buClr>
                <a:srgbClr val="F6691A"/>
              </a:buClr>
              <a:buFont typeface="Arial" pitchFamily="34" charset="0"/>
              <a:buChar char="+"/>
              <a:defRPr sz="1300"/>
            </a:lvl3pPr>
          </a:lstStyle>
          <a:p>
            <a:pPr lvl="0"/>
            <a:r>
              <a:rPr lang="en-US" dirty="0"/>
              <a:t>Inser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678" y="4542172"/>
            <a:ext cx="1124708" cy="48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01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28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No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216795" y="1069851"/>
            <a:ext cx="8572500" cy="205441"/>
          </a:xfrm>
        </p:spPr>
        <p:txBody>
          <a:bodyPr/>
          <a:lstStyle>
            <a:lvl1pPr marL="0" indent="0">
              <a:buFont typeface="Arial" pitchFamily="34" charset="0"/>
              <a:buNone/>
              <a:defRPr sz="1050"/>
            </a:lvl1pPr>
            <a:lvl2pPr marL="225029" indent="0">
              <a:buNone/>
              <a:defRPr/>
            </a:lvl2pPr>
            <a:lvl3pPr marL="385763" indent="0">
              <a:buNone/>
              <a:defRPr/>
            </a:lvl3pPr>
            <a:lvl4pPr marL="546497" indent="0">
              <a:buNone/>
              <a:defRPr lang="en-US" sz="1200" kern="1200" baseline="0" dirty="0">
                <a:solidFill>
                  <a:prstClr val="black">
                    <a:lumMod val="75000"/>
                    <a:lumOff val="25000"/>
                  </a:prstClr>
                </a:solidFill>
                <a:latin typeface="Qualcomm Office Regular" pitchFamily="34" charset="0"/>
                <a:ea typeface="+mn-ea"/>
                <a:cs typeface="Arial" pitchFamily="34" charset="0"/>
              </a:defRPr>
            </a:lvl4pPr>
            <a:lvl5pPr marL="900113" indent="-195453">
              <a:buFont typeface="Qualcomm Regular" pitchFamily="34" charset="0"/>
              <a:buChar char="−"/>
              <a:defRPr/>
            </a:lvl5pPr>
            <a:lvl6pPr marL="1221581" indent="0">
              <a:buNone/>
              <a:defRPr sz="900"/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212656" y="532194"/>
            <a:ext cx="8574733" cy="409984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>
            <a:lvl1pPr>
              <a:defRPr sz="2700">
                <a:latin typeface="Qualcomm Office Regular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77774" y="378619"/>
            <a:ext cx="8588453" cy="0"/>
          </a:xfrm>
          <a:prstGeom prst="line">
            <a:avLst/>
          </a:prstGeom>
          <a:ln w="47625">
            <a:gradFill flip="none" rotWithShape="1">
              <a:gsLst>
                <a:gs pos="100000">
                  <a:srgbClr val="004274"/>
                </a:gs>
                <a:gs pos="0">
                  <a:srgbClr val="008E95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 userDrawn="1"/>
        </p:nvSpPr>
        <p:spPr>
          <a:xfrm>
            <a:off x="217485" y="4858287"/>
            <a:ext cx="194675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>
              <a:lnSpc>
                <a:spcPct val="90000"/>
              </a:lnSpc>
              <a:spcAft>
                <a:spcPts val="225"/>
              </a:spcAft>
              <a:defRPr/>
            </a:pPr>
            <a:fld id="{AB307C75-CA2F-4BA6-858A-60F533452F31}" type="datetimeFigureOut">
              <a:rPr lang="en-US" sz="750">
                <a:solidFill>
                  <a:prstClr val="white">
                    <a:lumMod val="75000"/>
                  </a:prstClr>
                </a:solidFill>
              </a:rPr>
              <a:pPr defTabSz="514350">
                <a:lnSpc>
                  <a:spcPct val="90000"/>
                </a:lnSpc>
                <a:spcAft>
                  <a:spcPts val="225"/>
                </a:spcAft>
                <a:defRPr/>
              </a:pPr>
              <a:t>5/3/2018</a:t>
            </a:fld>
            <a:endParaRPr lang="en-US" sz="75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778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malle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8418" y="802386"/>
            <a:ext cx="8392677" cy="323743"/>
          </a:xfrm>
        </p:spPr>
        <p:txBody>
          <a:bodyPr anchor="t">
            <a:noAutofit/>
          </a:bodyPr>
          <a:lstStyle>
            <a:lvl1pPr marL="0" indent="0">
              <a:lnSpc>
                <a:spcPct val="94000"/>
              </a:lnSpc>
              <a:buNone/>
              <a:defRPr sz="1650" b="0">
                <a:solidFill>
                  <a:schemeClr val="accent4">
                    <a:lumMod val="7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642" y="4902079"/>
            <a:ext cx="7667507" cy="10368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>
              <a:lnSpc>
                <a:spcPct val="1250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6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92924" y="4601936"/>
            <a:ext cx="2133600" cy="201791"/>
          </a:xfrm>
        </p:spPr>
        <p:txBody>
          <a:bodyPr/>
          <a:lstStyle>
            <a:lvl1pPr algn="l">
              <a:defRPr sz="1181"/>
            </a:lvl1pPr>
          </a:lstStyle>
          <a:p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91339" y="3837726"/>
            <a:ext cx="4179055" cy="602307"/>
          </a:xfrm>
          <a:prstGeom prst="rect">
            <a:avLst/>
          </a:prstGeom>
        </p:spPr>
        <p:txBody>
          <a:bodyPr vert="horz" lIns="162547" tIns="81273" rIns="162547" bIns="81273" anchor="b"/>
          <a:lstStyle>
            <a:lvl1pPr marL="0" marR="0" indent="0" algn="r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 spc="0" baseline="0">
                <a:solidFill>
                  <a:schemeClr val="tx1"/>
                </a:solidFill>
              </a:defRPr>
            </a:lvl1pPr>
          </a:lstStyle>
          <a:p>
            <a:pPr marL="0" marR="0" lvl="0" indent="0" algn="r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is Is A Presentation Title That Can Go On Two Lin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666438" y="4450361"/>
            <a:ext cx="2003955" cy="348780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indent="0" algn="r">
              <a:lnSpc>
                <a:spcPct val="90000"/>
              </a:lnSpc>
              <a:buNone/>
              <a:defRPr sz="1631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66438" y="4799139"/>
            <a:ext cx="2003955" cy="234092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indent="0" algn="r">
              <a:lnSpc>
                <a:spcPct val="90000"/>
              </a:lnSpc>
              <a:buNone/>
              <a:defRPr sz="1181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1249789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78044" y="916517"/>
            <a:ext cx="8788156" cy="46637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8044" y="1382890"/>
            <a:ext cx="8788156" cy="79963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6" b="1">
                <a:solidFill>
                  <a:srgbClr val="787878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ecima</a:t>
            </a:r>
            <a:r>
              <a:rPr lang="en-US" dirty="0"/>
              <a:t> </a:t>
            </a:r>
            <a:r>
              <a:rPr lang="en-US" dirty="0" err="1"/>
              <a:t>eodem</a:t>
            </a:r>
            <a:r>
              <a:rPr lang="en-US" dirty="0"/>
              <a:t> </a:t>
            </a:r>
            <a:r>
              <a:rPr lang="en-US" dirty="0" err="1"/>
              <a:t>modo</a:t>
            </a:r>
            <a:r>
              <a:rPr lang="en-US" dirty="0"/>
              <a:t> </a:t>
            </a:r>
            <a:r>
              <a:rPr lang="en-US" dirty="0" err="1"/>
              <a:t>typi</a:t>
            </a:r>
            <a:r>
              <a:rPr lang="en-US" dirty="0"/>
              <a:t>,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1" y="2328335"/>
            <a:ext cx="6129867" cy="2337330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5"/>
              </a:buBlip>
              <a:defRPr sz="1406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12251226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and Content White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2" y="1471085"/>
            <a:ext cx="4097867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406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6" y="916517"/>
            <a:ext cx="4097623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4565485" y="916518"/>
            <a:ext cx="4392084" cy="35986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4686540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lunm Bullet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0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6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419502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419746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72194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2438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6913895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914139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8696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lunm Bullet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1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350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70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166737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350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167004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44684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350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44952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6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_divider 01 copy copy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6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00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78044" y="916517"/>
            <a:ext cx="8788156" cy="46637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8044" y="1382892"/>
            <a:ext cx="8788156" cy="79963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75" b="1">
                <a:solidFill>
                  <a:srgbClr val="787878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ecima</a:t>
            </a:r>
            <a:r>
              <a:rPr lang="en-US" dirty="0"/>
              <a:t> </a:t>
            </a:r>
            <a:r>
              <a:rPr lang="en-US" dirty="0" err="1"/>
              <a:t>eodem</a:t>
            </a:r>
            <a:r>
              <a:rPr lang="en-US" dirty="0"/>
              <a:t> </a:t>
            </a:r>
            <a:r>
              <a:rPr lang="en-US" dirty="0" err="1"/>
              <a:t>modo</a:t>
            </a:r>
            <a:r>
              <a:rPr lang="en-US" dirty="0"/>
              <a:t> </a:t>
            </a:r>
            <a:r>
              <a:rPr lang="en-US" dirty="0" err="1"/>
              <a:t>typi</a:t>
            </a:r>
            <a:r>
              <a:rPr lang="en-US" dirty="0"/>
              <a:t>,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3" y="2328335"/>
            <a:ext cx="6129867" cy="2337330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4"/>
              </a:buBlip>
              <a:defRPr sz="1875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5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11540412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3" y="2201335"/>
            <a:ext cx="8811513" cy="649112"/>
          </a:xfrm>
          <a:effectLst/>
        </p:spPr>
        <p:txBody>
          <a:bodyPr>
            <a:normAutofit/>
          </a:bodyPr>
          <a:lstStyle>
            <a:lvl1pPr>
              <a:defRPr sz="2588">
                <a:latin typeface="+mj-lt"/>
              </a:defRPr>
            </a:lvl1pPr>
          </a:lstStyle>
          <a:p>
            <a:r>
              <a:rPr lang="en-US" dirty="0"/>
              <a:t>Subject Divide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5044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gn Off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3" y="3796565"/>
            <a:ext cx="8811513" cy="649112"/>
          </a:xfrm>
          <a:effectLst/>
        </p:spPr>
        <p:txBody>
          <a:bodyPr>
            <a:normAutofit/>
          </a:bodyPr>
          <a:lstStyle>
            <a:lvl1pPr algn="ctr">
              <a:defRPr sz="2588" b="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ign-Off Text</a:t>
            </a:r>
          </a:p>
        </p:txBody>
      </p:sp>
    </p:spTree>
    <p:extLst>
      <p:ext uri="{BB962C8B-B14F-4D97-AF65-F5344CB8AC3E}">
        <p14:creationId xmlns:p14="http://schemas.microsoft.com/office/powerpoint/2010/main" val="27400207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92924" y="4601936"/>
            <a:ext cx="2133600" cy="201791"/>
          </a:xfrm>
        </p:spPr>
        <p:txBody>
          <a:bodyPr/>
          <a:lstStyle>
            <a:lvl1pPr algn="l">
              <a:defRPr sz="1181"/>
            </a:lvl1pPr>
          </a:lstStyle>
          <a:p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91339" y="3837726"/>
            <a:ext cx="4179055" cy="602307"/>
          </a:xfrm>
          <a:prstGeom prst="rect">
            <a:avLst/>
          </a:prstGeom>
        </p:spPr>
        <p:txBody>
          <a:bodyPr vert="horz" lIns="162547" tIns="81273" rIns="162547" bIns="81273" anchor="b"/>
          <a:lstStyle>
            <a:lvl1pPr marL="0" marR="0" indent="0" algn="r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 spc="0" baseline="0">
                <a:solidFill>
                  <a:schemeClr val="tx1"/>
                </a:solidFill>
              </a:defRPr>
            </a:lvl1pPr>
          </a:lstStyle>
          <a:p>
            <a:pPr marL="0" marR="0" lvl="0" indent="0" algn="r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is Is A Presentation Title That Can Go On Two Lin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666438" y="4450361"/>
            <a:ext cx="2003955" cy="348780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indent="0" algn="r">
              <a:lnSpc>
                <a:spcPct val="90000"/>
              </a:lnSpc>
              <a:buNone/>
              <a:defRPr sz="1631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66438" y="4799139"/>
            <a:ext cx="2003955" cy="234092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indent="0" algn="r">
              <a:lnSpc>
                <a:spcPct val="90000"/>
              </a:lnSpc>
              <a:buNone/>
              <a:defRPr sz="1181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38752613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</p:spTree>
    <p:extLst>
      <p:ext uri="{BB962C8B-B14F-4D97-AF65-F5344CB8AC3E}">
        <p14:creationId xmlns:p14="http://schemas.microsoft.com/office/powerpoint/2010/main" val="2415083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 Slide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78044" y="916517"/>
            <a:ext cx="8788156" cy="46637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8044" y="1382890"/>
            <a:ext cx="8788156" cy="79963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6" b="1">
                <a:solidFill>
                  <a:srgbClr val="787878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ecima</a:t>
            </a:r>
            <a:r>
              <a:rPr lang="en-US" dirty="0"/>
              <a:t> </a:t>
            </a:r>
            <a:r>
              <a:rPr lang="en-US" dirty="0" err="1"/>
              <a:t>eodem</a:t>
            </a:r>
            <a:r>
              <a:rPr lang="en-US" dirty="0"/>
              <a:t> </a:t>
            </a:r>
            <a:r>
              <a:rPr lang="en-US" dirty="0" err="1"/>
              <a:t>modo</a:t>
            </a:r>
            <a:r>
              <a:rPr lang="en-US" dirty="0"/>
              <a:t> </a:t>
            </a:r>
            <a:r>
              <a:rPr lang="en-US" dirty="0" err="1"/>
              <a:t>typi</a:t>
            </a:r>
            <a:r>
              <a:rPr lang="en-US" dirty="0"/>
              <a:t>,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1" y="2328335"/>
            <a:ext cx="6129867" cy="2337330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5"/>
              </a:buBlip>
              <a:defRPr sz="1406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14601625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and Content White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2" y="1471085"/>
            <a:ext cx="4097867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406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6" y="916517"/>
            <a:ext cx="4097623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4565485" y="916518"/>
            <a:ext cx="4392084" cy="35986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5075475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lunm Bullet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0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6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419502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419746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72194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2438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6913895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181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956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914139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603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lunm Bullet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  <a:latin typeface="+mn-lt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1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350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70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+mj-lt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166737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350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167004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44684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85" indent="-255985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350">
                <a:solidFill>
                  <a:srgbClr val="787878"/>
                </a:solidFill>
                <a:latin typeface="+mn-lt"/>
              </a:defRPr>
            </a:lvl1pPr>
            <a:lvl2pPr marL="594250" indent="-283412">
              <a:spcAft>
                <a:spcPts val="600"/>
              </a:spcAft>
              <a:defRPr sz="1181">
                <a:solidFill>
                  <a:srgbClr val="787878"/>
                </a:solidFill>
                <a:latin typeface="+mn-lt"/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44952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  <a:latin typeface="+mn-lt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054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3" y="2201335"/>
            <a:ext cx="8811513" cy="649112"/>
          </a:xfrm>
          <a:effectLst/>
        </p:spPr>
        <p:txBody>
          <a:bodyPr>
            <a:normAutofit/>
          </a:bodyPr>
          <a:lstStyle>
            <a:lvl1pPr>
              <a:defRPr sz="2588">
                <a:latin typeface="+mj-lt"/>
              </a:defRPr>
            </a:lvl1pPr>
          </a:lstStyle>
          <a:p>
            <a:r>
              <a:rPr lang="en-US" dirty="0"/>
              <a:t>Subject Divide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8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8320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gn Off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3" y="3796565"/>
            <a:ext cx="8811513" cy="649112"/>
          </a:xfrm>
          <a:effectLst/>
        </p:spPr>
        <p:txBody>
          <a:bodyPr>
            <a:normAutofit/>
          </a:bodyPr>
          <a:lstStyle>
            <a:lvl1pPr algn="ctr">
              <a:defRPr sz="2588" b="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ign-Off Text</a:t>
            </a:r>
          </a:p>
        </p:txBody>
      </p:sp>
    </p:spTree>
    <p:extLst>
      <p:ext uri="{BB962C8B-B14F-4D97-AF65-F5344CB8AC3E}">
        <p14:creationId xmlns:p14="http://schemas.microsoft.com/office/powerpoint/2010/main" val="34849284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and Content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_divider 01 copy copy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6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4" y="1471085"/>
            <a:ext cx="4097867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3"/>
              </a:buBlip>
              <a:defRPr sz="1875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5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8" y="916517"/>
            <a:ext cx="4097623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00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4565485" y="916519"/>
            <a:ext cx="4392084" cy="35986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495610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_divider 01 copy copy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2FBDC8B0-9EA3-474E-BB20-EDFFDDD7CE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9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  <a:latin typeface="ITC Avant Garde Std Md" panose="020B0602020202020204" pitchFamily="34" charset="0"/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5643" y="1028907"/>
            <a:ext cx="8788156" cy="79963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04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6" b="1">
                <a:solidFill>
                  <a:srgbClr val="787878"/>
                </a:solidFill>
                <a:latin typeface="ITC Avant Garde Std Bk" panose="020B0502020202020204" pitchFamily="34" charset="0"/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ecima</a:t>
            </a:r>
            <a:r>
              <a:rPr lang="en-US" dirty="0"/>
              <a:t> </a:t>
            </a:r>
            <a:r>
              <a:rPr lang="en-US" dirty="0" err="1"/>
              <a:t>eodem</a:t>
            </a:r>
            <a:r>
              <a:rPr lang="en-US" dirty="0"/>
              <a:t> </a:t>
            </a:r>
            <a:r>
              <a:rPr lang="en-US" dirty="0" err="1"/>
              <a:t>modo</a:t>
            </a:r>
            <a:r>
              <a:rPr lang="en-US" dirty="0"/>
              <a:t> </a:t>
            </a:r>
            <a:r>
              <a:rPr lang="en-US" dirty="0" err="1"/>
              <a:t>typi</a:t>
            </a:r>
            <a:r>
              <a:rPr lang="en-US" dirty="0"/>
              <a:t>,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26641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 bwMode="auto">
          <a:xfrm>
            <a:off x="-48815" y="4926987"/>
            <a:ext cx="406004" cy="161565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 lIns="68562" tIns="34281" rIns="68562" bIns="34281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342806" fontAlgn="base">
              <a:spcBef>
                <a:spcPct val="0"/>
              </a:spcBef>
              <a:spcAft>
                <a:spcPct val="0"/>
              </a:spcAft>
              <a:defRPr/>
            </a:pPr>
            <a:fld id="{722F1051-E210-4631-9B4F-CD81BA14E6BB}" type="slidenum">
              <a:rPr lang="en-GB" altLang="en-US" sz="600" smtClean="0">
                <a:solidFill>
                  <a:srgbClr val="003366"/>
                </a:solidFill>
                <a:latin typeface="Arial" panose="020B0604020202020204" pitchFamily="34" charset="0"/>
              </a:rPr>
              <a:pPr algn="ctr" defTabSz="34280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sz="600" dirty="0">
              <a:solidFill>
                <a:srgbClr val="003366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3" descr="C:\Users\sjckcorr\Desktop\flextronics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5980" y="4852989"/>
            <a:ext cx="1257300" cy="235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1" y="640191"/>
            <a:ext cx="8439727" cy="414204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457201" y="108347"/>
            <a:ext cx="8459788" cy="37980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1290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_divider 01 copy copy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5" y="206378"/>
            <a:ext cx="8787913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78045" y="916517"/>
            <a:ext cx="8788156" cy="46637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0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8045" y="1382892"/>
            <a:ext cx="8788156" cy="79963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0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6" b="1">
                <a:solidFill>
                  <a:srgbClr val="787878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ecima</a:t>
            </a:r>
            <a:r>
              <a:rPr lang="en-US" dirty="0"/>
              <a:t> </a:t>
            </a:r>
            <a:r>
              <a:rPr lang="en-US" dirty="0" err="1"/>
              <a:t>eodem</a:t>
            </a:r>
            <a:r>
              <a:rPr lang="en-US" dirty="0"/>
              <a:t> </a:t>
            </a:r>
            <a:r>
              <a:rPr lang="en-US" dirty="0" err="1"/>
              <a:t>modo</a:t>
            </a:r>
            <a:r>
              <a:rPr lang="en-US" dirty="0"/>
              <a:t> </a:t>
            </a:r>
            <a:r>
              <a:rPr lang="en-US" dirty="0" err="1"/>
              <a:t>typi</a:t>
            </a:r>
            <a:r>
              <a:rPr lang="en-US" dirty="0"/>
              <a:t>,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1" y="2328334"/>
            <a:ext cx="6129867" cy="2337330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30" indent="-255930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406">
                <a:solidFill>
                  <a:srgbClr val="787878"/>
                </a:solidFill>
              </a:defRPr>
            </a:lvl1pPr>
            <a:lvl2pPr marL="594122" indent="-283350">
              <a:spcAft>
                <a:spcPts val="600"/>
              </a:spcAft>
              <a:defRPr sz="1181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9640190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254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4"/>
            <a:ext cx="2133600" cy="274637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ITC Avant Garde Pro Bk" panose="020B0502020202020204" pitchFamily="34" charset="0"/>
              </a:defRPr>
            </a:lvl1pPr>
          </a:lstStyle>
          <a:p>
            <a:fld id="{C48D9196-7146-4672-A4BA-DB29036C6B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3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chemeClr val="bg1"/>
                </a:solidFill>
                <a:latin typeface="ITC Avant Garde Pro Md" panose="020B0602020202020204" pitchFamily="34" charset="0"/>
              </a:defRPr>
            </a:lvl1pPr>
          </a:lstStyle>
          <a:p>
            <a:r>
              <a:rPr lang="en-US" dirty="0"/>
              <a:t>Subject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764" y="4749023"/>
            <a:ext cx="542887" cy="22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86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10237">
          <p15:clr>
            <a:srgbClr val="FBAE40"/>
          </p15:clr>
        </p15:guide>
        <p15:guide id="2" orient="horz" pos="5760">
          <p15:clr>
            <a:srgbClr val="FBAE40"/>
          </p15:clr>
        </p15:guide>
        <p15:guide id="3" orient="horz" pos="523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92924" y="4601937"/>
            <a:ext cx="2133600" cy="201791"/>
          </a:xfrm>
        </p:spPr>
        <p:txBody>
          <a:bodyPr/>
          <a:lstStyle>
            <a:lvl1pPr algn="l">
              <a:defRPr sz="1181"/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2927" y="4795681"/>
            <a:ext cx="1572381" cy="239408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r>
              <a:rPr lang="en-US" sz="956" b="1" spc="29" dirty="0">
                <a:solidFill>
                  <a:srgbClr val="FFFFFF"/>
                </a:solidFill>
                <a:latin typeface="+mj-lt"/>
              </a:rPr>
              <a:t>CONFIDENTIA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91340" y="3837727"/>
            <a:ext cx="4179055" cy="602307"/>
          </a:xfrm>
          <a:prstGeom prst="rect">
            <a:avLst/>
          </a:prstGeom>
        </p:spPr>
        <p:txBody>
          <a:bodyPr vert="horz" lIns="162547" tIns="81273" rIns="162547" bIns="81273" anchor="b"/>
          <a:lstStyle>
            <a:lvl1pPr marL="0" marR="0" indent="0" algn="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 spc="0" baseline="0">
                <a:solidFill>
                  <a:srgbClr val="FFFFFF"/>
                </a:solidFill>
              </a:defRPr>
            </a:lvl1pPr>
          </a:lstStyle>
          <a:p>
            <a:pPr marL="0" marR="0" lvl="0" indent="0" algn="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is Is A Presentation Title That Can Go On Two Lin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666439" y="4450361"/>
            <a:ext cx="2003955" cy="348780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indent="0" algn="r">
              <a:lnSpc>
                <a:spcPct val="90000"/>
              </a:lnSpc>
              <a:buNone/>
              <a:defRPr sz="1631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66439" y="4799140"/>
            <a:ext cx="2003955" cy="234092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indent="0" algn="r">
              <a:lnSpc>
                <a:spcPct val="90000"/>
              </a:lnSpc>
              <a:buNone/>
              <a:defRPr sz="1181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3684501013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 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11"/>
          </p:nvPr>
        </p:nvSpPr>
        <p:spPr>
          <a:xfrm>
            <a:off x="92924" y="4601937"/>
            <a:ext cx="2133600" cy="201791"/>
          </a:xfrm>
        </p:spPr>
        <p:txBody>
          <a:bodyPr/>
          <a:lstStyle>
            <a:lvl1pPr algn="l">
              <a:defRPr sz="1181"/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2927" y="4795681"/>
            <a:ext cx="1572381" cy="239408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r>
              <a:rPr lang="en-US" sz="956" b="1" spc="29" dirty="0">
                <a:solidFill>
                  <a:srgbClr val="FFFFFF"/>
                </a:solidFill>
                <a:latin typeface="+mj-lt"/>
              </a:rPr>
              <a:t>CONFIDENTIA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91340" y="3507329"/>
            <a:ext cx="4179055" cy="602307"/>
          </a:xfrm>
          <a:prstGeom prst="rect">
            <a:avLst/>
          </a:prstGeom>
        </p:spPr>
        <p:txBody>
          <a:bodyPr vert="horz" lIns="162547" tIns="81273" rIns="162547" bIns="81273" anchor="b"/>
          <a:lstStyle>
            <a:lvl1pPr marL="0" marR="0" indent="0" algn="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 spc="0" baseline="0">
                <a:solidFill>
                  <a:srgbClr val="FFFFFF"/>
                </a:solidFill>
              </a:defRPr>
            </a:lvl1pPr>
          </a:lstStyle>
          <a:p>
            <a:pPr marL="0" marR="0" lvl="0" indent="0" algn="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is Is A Presentation Title That Can Go On Two Lin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666439" y="4119962"/>
            <a:ext cx="2003955" cy="348780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indent="0" algn="r">
              <a:lnSpc>
                <a:spcPct val="90000"/>
              </a:lnSpc>
              <a:buNone/>
              <a:defRPr sz="1631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66439" y="4468741"/>
            <a:ext cx="2003955" cy="234092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indent="0" algn="r">
              <a:lnSpc>
                <a:spcPct val="90000"/>
              </a:lnSpc>
              <a:buNone/>
              <a:defRPr sz="1181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osition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365378"/>
            <a:ext cx="8229600" cy="458863"/>
          </a:xfrm>
          <a:prstGeom prst="rect">
            <a:avLst/>
          </a:prstGeom>
        </p:spPr>
        <p:txBody>
          <a:bodyPr vert="horz">
            <a:noAutofit/>
          </a:bodyPr>
          <a:lstStyle>
            <a:lvl1pPr algn="ctr">
              <a:defRPr sz="3206" b="1" spc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86655173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_divider 01 copy copy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  <p:sp>
        <p:nvSpPr>
          <p:cNvPr id="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78044" y="916517"/>
            <a:ext cx="8788156" cy="46637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8044" y="1382891"/>
            <a:ext cx="8788156" cy="799631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6" b="1">
                <a:solidFill>
                  <a:srgbClr val="787878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ecima</a:t>
            </a:r>
            <a:r>
              <a:rPr lang="en-US" dirty="0"/>
              <a:t> </a:t>
            </a:r>
            <a:r>
              <a:rPr lang="en-US" dirty="0" err="1"/>
              <a:t>eodem</a:t>
            </a:r>
            <a:r>
              <a:rPr lang="en-US" dirty="0"/>
              <a:t> </a:t>
            </a:r>
            <a:r>
              <a:rPr lang="en-US" dirty="0" err="1"/>
              <a:t>modo</a:t>
            </a:r>
            <a:r>
              <a:rPr lang="en-US" dirty="0"/>
              <a:t> </a:t>
            </a:r>
            <a:r>
              <a:rPr lang="en-US" dirty="0" err="1"/>
              <a:t>typi</a:t>
            </a:r>
            <a:r>
              <a:rPr lang="en-US" dirty="0"/>
              <a:t>,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2" y="2328335"/>
            <a:ext cx="6129867" cy="2337330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406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1181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2736648185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and Content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_divider 01 copy copy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3" y="1471085"/>
            <a:ext cx="4097867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3"/>
              </a:buBlip>
              <a:defRPr sz="1406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1181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7" y="916517"/>
            <a:ext cx="4097623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4565485" y="916519"/>
            <a:ext cx="4392084" cy="35986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002704220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and Content Dark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3" y="1471085"/>
            <a:ext cx="4097867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4"/>
              </a:buBlip>
              <a:defRPr sz="1406">
                <a:solidFill>
                  <a:srgbClr val="FFFFFF"/>
                </a:solidFill>
              </a:defRPr>
            </a:lvl1pPr>
            <a:lvl2pPr marL="594236" indent="-283405">
              <a:spcAft>
                <a:spcPts val="600"/>
              </a:spcAft>
              <a:defRPr sz="1181">
                <a:solidFill>
                  <a:srgbClr val="FFFFFF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7" y="916517"/>
            <a:ext cx="4097623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9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4565485" y="916519"/>
            <a:ext cx="4392084" cy="35986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814837463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lunm Bulle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BACKGROUND_divider 01 copy copy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1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3"/>
              </a:buBlip>
              <a:defRPr sz="1181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956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7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419503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3"/>
              </a:buBlip>
              <a:defRPr sz="1181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956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419747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72195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3"/>
              </a:buBlip>
              <a:defRPr sz="1181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956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2439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6913896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3"/>
              </a:buBlip>
              <a:defRPr sz="1181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956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914140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291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and Content Dark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6"/>
            <a:ext cx="2133600" cy="27463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4" y="1471085"/>
            <a:ext cx="4097867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4"/>
              </a:buBlip>
              <a:defRPr sz="1875">
                <a:solidFill>
                  <a:srgbClr val="FFFFFF"/>
                </a:solidFill>
              </a:defRPr>
            </a:lvl1pPr>
            <a:lvl2pPr marL="792314" indent="-377873">
              <a:spcAft>
                <a:spcPts val="800"/>
              </a:spcAft>
              <a:defRPr sz="1575">
                <a:solidFill>
                  <a:srgbClr val="FFFFFF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8" y="916517"/>
            <a:ext cx="4097623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>
                <a:solidFill>
                  <a:schemeClr val="bg1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9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4565485" y="916519"/>
            <a:ext cx="4392084" cy="35986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165609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lunm Bulle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 descr="BACKGROUND_divider 01 copy copy.jp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2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7"/>
              </a:buBlip>
              <a:defRPr sz="1350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1181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71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25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166738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7"/>
              </a:buBlip>
              <a:defRPr sz="1350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1181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167004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44685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255979" indent="-255979">
              <a:spcAft>
                <a:spcPts val="600"/>
              </a:spcAft>
              <a:buSzPct val="90000"/>
              <a:buFontTx/>
              <a:buBlip>
                <a:blip r:embed="rId7"/>
              </a:buBlip>
              <a:defRPr sz="1350">
                <a:solidFill>
                  <a:srgbClr val="787878"/>
                </a:solidFill>
              </a:defRPr>
            </a:lvl1pPr>
            <a:lvl2pPr marL="594236" indent="-283405">
              <a:spcAft>
                <a:spcPts val="600"/>
              </a:spcAft>
              <a:defRPr sz="1181">
                <a:solidFill>
                  <a:srgbClr val="787878"/>
                </a:solidFill>
              </a:defRPr>
            </a:lvl2pPr>
            <a:lvl3pPr>
              <a:defRPr sz="1181">
                <a:solidFill>
                  <a:srgbClr val="787878"/>
                </a:solidFill>
              </a:defRPr>
            </a:lvl3pPr>
            <a:lvl4pPr>
              <a:defRPr sz="1181">
                <a:solidFill>
                  <a:srgbClr val="787878"/>
                </a:solidFill>
              </a:defRPr>
            </a:lvl4pPr>
            <a:lvl5pPr>
              <a:defRPr sz="1181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44953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1631"/>
            </a:lvl2pPr>
            <a:lvl3pPr>
              <a:defRPr sz="1406"/>
            </a:lvl3pPr>
            <a:lvl4pPr>
              <a:defRPr sz="1181"/>
            </a:lvl4pPr>
            <a:lvl5pPr>
              <a:defRPr sz="1181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351192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3" y="2201335"/>
            <a:ext cx="8811513" cy="649112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2588"/>
            </a:lvl1pPr>
          </a:lstStyle>
          <a:p>
            <a:r>
              <a:rPr lang="en-US" dirty="0"/>
              <a:t>Subject Divider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5"/>
            <a:ext cx="2133600" cy="27463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882679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3" y="2201335"/>
            <a:ext cx="8811513" cy="649112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2588" baseline="0"/>
            </a:lvl1pPr>
          </a:lstStyle>
          <a:p>
            <a:r>
              <a:rPr lang="en-US" dirty="0"/>
              <a:t>Sign-Off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19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422102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lunm Bulle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BACKGROUND_divider 01 copy copy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6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2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3"/>
              </a:buBlip>
              <a:defRPr sz="1575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2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48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00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419504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3"/>
              </a:buBlip>
              <a:defRPr sz="1575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2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419748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72196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3"/>
              </a:buBlip>
              <a:defRPr sz="1575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2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2440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6913897" y="1471085"/>
            <a:ext cx="205291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3"/>
              </a:buBlip>
              <a:defRPr sz="1575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2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914141" y="916517"/>
            <a:ext cx="2052791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796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lunm Bulle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521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 descr="BACKGROUND_divider 01 copy copy.jpg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9144000" cy="8225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6"/>
            <a:ext cx="2133600" cy="274637"/>
          </a:xfrm>
        </p:spPr>
        <p:txBody>
          <a:bodyPr/>
          <a:lstStyle>
            <a:lvl1pPr>
              <a:defRPr>
                <a:solidFill>
                  <a:srgbClr val="009ADD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77803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7"/>
              </a:buBlip>
              <a:defRPr sz="1800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5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8071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178044" y="206378"/>
            <a:ext cx="8787914" cy="4709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000" b="1">
                <a:solidFill>
                  <a:srgbClr val="009BDE"/>
                </a:solidFill>
              </a:defRPr>
            </a:lvl1pPr>
          </a:lstStyle>
          <a:p>
            <a:r>
              <a:rPr lang="en-US" dirty="0"/>
              <a:t>Subject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166739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7"/>
              </a:buBlip>
              <a:defRPr sz="1800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5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167004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44686" y="1471085"/>
            <a:ext cx="2822123" cy="3043767"/>
          </a:xfrm>
          <a:prstGeom prst="rect">
            <a:avLst/>
          </a:prstGeom>
        </p:spPr>
        <p:txBody>
          <a:bodyPr vert="horz" lIns="162547" tIns="81273" rIns="162547" bIns="81273"/>
          <a:lstStyle>
            <a:lvl1pPr marL="341305" indent="-341305">
              <a:spcAft>
                <a:spcPts val="800"/>
              </a:spcAft>
              <a:buSzPct val="90000"/>
              <a:buFontTx/>
              <a:buBlip>
                <a:blip r:embed="rId7"/>
              </a:buBlip>
              <a:defRPr sz="1800">
                <a:solidFill>
                  <a:srgbClr val="787878"/>
                </a:solidFill>
              </a:defRPr>
            </a:lvl1pPr>
            <a:lvl2pPr marL="792314" indent="-377873">
              <a:spcAft>
                <a:spcPts val="800"/>
              </a:spcAft>
              <a:defRPr sz="1575">
                <a:solidFill>
                  <a:srgbClr val="787878"/>
                </a:solidFill>
              </a:defRPr>
            </a:lvl2pPr>
            <a:lvl3pPr>
              <a:defRPr sz="1575">
                <a:solidFill>
                  <a:srgbClr val="787878"/>
                </a:solidFill>
              </a:defRPr>
            </a:lvl3pPr>
            <a:lvl4pPr>
              <a:defRPr sz="1575">
                <a:solidFill>
                  <a:srgbClr val="787878"/>
                </a:solidFill>
              </a:defRPr>
            </a:lvl4pPr>
            <a:lvl5pPr>
              <a:defRPr sz="1575">
                <a:solidFill>
                  <a:srgbClr val="787878"/>
                </a:solidFill>
              </a:defRPr>
            </a:lvl5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elores</a:t>
            </a:r>
            <a:r>
              <a:rPr lang="en-US" dirty="0"/>
              <a:t> eta </a:t>
            </a:r>
            <a:r>
              <a:rPr lang="en-US" dirty="0" err="1"/>
              <a:t>commecturere</a:t>
            </a:r>
            <a:r>
              <a:rPr lang="en-US" dirty="0"/>
              <a:t> </a:t>
            </a:r>
            <a:r>
              <a:rPr lang="en-US" dirty="0" err="1"/>
              <a:t>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verdure aurora</a:t>
            </a:r>
          </a:p>
          <a:p>
            <a:pPr lvl="1"/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;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qui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nobis</a:t>
            </a:r>
            <a:r>
              <a:rPr lang="en-US" dirty="0"/>
              <a:t> </a:t>
            </a:r>
            <a:r>
              <a:rPr lang="en-US" dirty="0" err="1"/>
              <a:t>videntur</a:t>
            </a:r>
            <a:r>
              <a:rPr lang="en-US" dirty="0"/>
              <a:t> </a:t>
            </a:r>
            <a:r>
              <a:rPr lang="en-US" dirty="0" err="1"/>
              <a:t>parum</a:t>
            </a:r>
            <a:r>
              <a:rPr lang="en-US" dirty="0"/>
              <a:t> </a:t>
            </a:r>
            <a:r>
              <a:rPr lang="en-US" dirty="0" err="1"/>
              <a:t>clari</a:t>
            </a:r>
            <a:r>
              <a:rPr lang="en-US" dirty="0"/>
              <a:t> </a:t>
            </a:r>
            <a:r>
              <a:rPr lang="en-US" dirty="0" err="1"/>
              <a:t>fiant</a:t>
            </a:r>
            <a:r>
              <a:rPr lang="en-US" dirty="0"/>
              <a:t> </a:t>
            </a:r>
            <a:r>
              <a:rPr lang="en-US" dirty="0" err="1"/>
              <a:t>sollemnes</a:t>
            </a:r>
            <a:r>
              <a:rPr lang="en-US" dirty="0"/>
              <a:t> in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44953" y="916517"/>
            <a:ext cx="2821954" cy="466371"/>
          </a:xfrm>
          <a:prstGeom prst="rect">
            <a:avLst/>
          </a:prstGeom>
        </p:spPr>
        <p:txBody>
          <a:bodyPr vert="horz" lIns="162547" tIns="81273" rIns="162547" bIns="81273" anchor="ctr"/>
          <a:lstStyle>
            <a:lvl1pPr marL="0" marR="0" indent="0" algn="l" defTabSz="60947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>
                <a:solidFill>
                  <a:srgbClr val="005486"/>
                </a:solidFill>
              </a:defRPr>
            </a:lvl1pPr>
            <a:lvl2pPr>
              <a:defRPr sz="2175"/>
            </a:lvl2pPr>
            <a:lvl3pPr>
              <a:defRPr sz="1875"/>
            </a:lvl3pPr>
            <a:lvl4pPr>
              <a:defRPr sz="1575"/>
            </a:lvl4pPr>
            <a:lvl5pPr>
              <a:defRPr sz="1575"/>
            </a:lvl5pPr>
          </a:lstStyle>
          <a:p>
            <a:pPr lvl="0"/>
            <a:r>
              <a:rPr lang="en-US" dirty="0"/>
              <a:t>Subhead Goes Her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03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4" y="2201336"/>
            <a:ext cx="8811513" cy="649112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3451"/>
            </a:lvl1pPr>
          </a:lstStyle>
          <a:p>
            <a:r>
              <a:rPr lang="en-US" dirty="0"/>
              <a:t>Subject Divider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8043" y="4767266"/>
            <a:ext cx="2133600" cy="27463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372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8044" y="2201336"/>
            <a:ext cx="8811513" cy="649112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ctr">
              <a:defRPr sz="3451" baseline="0"/>
            </a:lvl1pPr>
          </a:lstStyle>
          <a:p>
            <a:r>
              <a:rPr lang="en-US" dirty="0"/>
              <a:t>Sign-Off Tex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6678" y="4762820"/>
            <a:ext cx="567120" cy="2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043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7.jp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22.jp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1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95355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93046" y="4767266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l">
              <a:defRPr sz="1275">
                <a:solidFill>
                  <a:schemeClr val="bg1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895422" y="2201336"/>
            <a:ext cx="7353160" cy="649112"/>
          </a:xfrm>
          <a:prstGeom prst="rect">
            <a:avLst/>
          </a:prstGeom>
        </p:spPr>
        <p:txBody>
          <a:bodyPr vert="horz" lIns="162547" tIns="81273" rIns="162547" bIns="81273" rtlCol="0" anchor="ctr">
            <a:normAutofit/>
          </a:bodyPr>
          <a:lstStyle/>
          <a:p>
            <a:r>
              <a:rPr lang="en-US" dirty="0"/>
              <a:t>Subject Divider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6528325" y="4759683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r">
              <a:defRPr sz="1575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5" name="Straight Connector 4"/>
          <p:cNvCxnSpPr>
            <a:cxnSpLocks noChangeShapeType="1"/>
          </p:cNvCxnSpPr>
          <p:nvPr userDrawn="1"/>
        </p:nvCxnSpPr>
        <p:spPr bwMode="auto">
          <a:xfrm>
            <a:off x="419100" y="488156"/>
            <a:ext cx="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  <p:sldLayoutId id="2147484275" r:id="rId13"/>
    <p:sldLayoutId id="2147484276" r:id="rId14"/>
    <p:sldLayoutId id="2147484277" r:id="rId15"/>
    <p:sldLayoutId id="2147484278" r:id="rId16"/>
    <p:sldLayoutId id="2147484249" r:id="rId17"/>
    <p:sldLayoutId id="2147484251" r:id="rId18"/>
    <p:sldLayoutId id="2147484252" r:id="rId19"/>
    <p:sldLayoutId id="2147484253" r:id="rId20"/>
  </p:sldLayoutIdLst>
  <p:hf hdr="0" ftr="0" dt="0"/>
  <p:txStyles>
    <p:titleStyle>
      <a:lvl1pPr algn="l" defTabSz="609473" rtl="0" eaLnBrk="1" latinLnBrk="0" hangingPunct="1">
        <a:spcBef>
          <a:spcPct val="0"/>
        </a:spcBef>
        <a:buNone/>
        <a:defRPr sz="3451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105" indent="-457105" algn="l" defTabSz="609473" rtl="0" eaLnBrk="1" latinLnBrk="0" hangingPunct="1">
        <a:spcBef>
          <a:spcPct val="20000"/>
        </a:spcBef>
        <a:buFont typeface="Arial"/>
        <a:buChar char="•"/>
        <a:defRPr sz="4275" kern="1200">
          <a:solidFill>
            <a:schemeClr val="tx1"/>
          </a:solidFill>
          <a:latin typeface="+mn-lt"/>
          <a:ea typeface="+mn-ea"/>
          <a:cs typeface="+mn-cs"/>
        </a:defRPr>
      </a:lvl1pPr>
      <a:lvl2pPr marL="990394" indent="-380920" algn="l" defTabSz="609473" rtl="0" eaLnBrk="1" latinLnBrk="0" hangingPunct="1">
        <a:spcBef>
          <a:spcPct val="20000"/>
        </a:spcBef>
        <a:buFont typeface="Arial"/>
        <a:buChar char="–"/>
        <a:defRPr sz="3675" kern="1200">
          <a:solidFill>
            <a:schemeClr val="tx1"/>
          </a:solidFill>
          <a:latin typeface="+mn-lt"/>
          <a:ea typeface="+mn-ea"/>
          <a:cs typeface="+mn-cs"/>
        </a:defRPr>
      </a:lvl2pPr>
      <a:lvl3pPr marL="1523682" indent="-304736" algn="l" defTabSz="609473" rtl="0" eaLnBrk="1" latinLnBrk="0" hangingPunct="1">
        <a:spcBef>
          <a:spcPct val="20000"/>
        </a:spcBef>
        <a:buFont typeface="Arial"/>
        <a:buChar char="•"/>
        <a:defRPr sz="3225" kern="1200">
          <a:solidFill>
            <a:schemeClr val="tx1"/>
          </a:solidFill>
          <a:latin typeface="+mn-lt"/>
          <a:ea typeface="+mn-ea"/>
          <a:cs typeface="+mn-cs"/>
        </a:defRPr>
      </a:lvl3pPr>
      <a:lvl4pPr marL="2133153" indent="-304736" algn="l" defTabSz="609473" rtl="0" eaLnBrk="1" latinLnBrk="0" hangingPunct="1">
        <a:spcBef>
          <a:spcPct val="20000"/>
        </a:spcBef>
        <a:buFont typeface="Arial"/>
        <a:buChar char="–"/>
        <a:defRPr sz="2775" kern="1200">
          <a:solidFill>
            <a:schemeClr val="tx1"/>
          </a:solidFill>
          <a:latin typeface="+mn-lt"/>
          <a:ea typeface="+mn-ea"/>
          <a:cs typeface="+mn-cs"/>
        </a:defRPr>
      </a:lvl4pPr>
      <a:lvl5pPr marL="2742626" indent="-304736" algn="l" defTabSz="609473" rtl="0" eaLnBrk="1" latinLnBrk="0" hangingPunct="1">
        <a:spcBef>
          <a:spcPct val="20000"/>
        </a:spcBef>
        <a:buFont typeface="Arial"/>
        <a:buChar char="»"/>
        <a:defRPr sz="2775" kern="1200">
          <a:solidFill>
            <a:schemeClr val="tx1"/>
          </a:solidFill>
          <a:latin typeface="+mn-lt"/>
          <a:ea typeface="+mn-ea"/>
          <a:cs typeface="+mn-cs"/>
        </a:defRPr>
      </a:lvl5pPr>
      <a:lvl6pPr marL="3352099" indent="-304736" algn="l" defTabSz="609473" rtl="0" eaLnBrk="1" latinLnBrk="0" hangingPunct="1">
        <a:spcBef>
          <a:spcPct val="20000"/>
        </a:spcBef>
        <a:buFont typeface="Arial"/>
        <a:buChar char="•"/>
        <a:defRPr sz="2775" kern="1200">
          <a:solidFill>
            <a:schemeClr val="tx1"/>
          </a:solidFill>
          <a:latin typeface="+mn-lt"/>
          <a:ea typeface="+mn-ea"/>
          <a:cs typeface="+mn-cs"/>
        </a:defRPr>
      </a:lvl6pPr>
      <a:lvl7pPr marL="3961570" indent="-304736" algn="l" defTabSz="609473" rtl="0" eaLnBrk="1" latinLnBrk="0" hangingPunct="1">
        <a:spcBef>
          <a:spcPct val="20000"/>
        </a:spcBef>
        <a:buFont typeface="Arial"/>
        <a:buChar char="•"/>
        <a:defRPr sz="2775" kern="1200">
          <a:solidFill>
            <a:schemeClr val="tx1"/>
          </a:solidFill>
          <a:latin typeface="+mn-lt"/>
          <a:ea typeface="+mn-ea"/>
          <a:cs typeface="+mn-cs"/>
        </a:defRPr>
      </a:lvl7pPr>
      <a:lvl8pPr marL="4571043" indent="-304736" algn="l" defTabSz="609473" rtl="0" eaLnBrk="1" latinLnBrk="0" hangingPunct="1">
        <a:spcBef>
          <a:spcPct val="20000"/>
        </a:spcBef>
        <a:buFont typeface="Arial"/>
        <a:buChar char="•"/>
        <a:defRPr sz="2775" kern="1200">
          <a:solidFill>
            <a:schemeClr val="tx1"/>
          </a:solidFill>
          <a:latin typeface="+mn-lt"/>
          <a:ea typeface="+mn-ea"/>
          <a:cs typeface="+mn-cs"/>
        </a:defRPr>
      </a:lvl8pPr>
      <a:lvl9pPr marL="5180514" indent="-304736" algn="l" defTabSz="609473" rtl="0" eaLnBrk="1" latinLnBrk="0" hangingPunct="1">
        <a:spcBef>
          <a:spcPct val="20000"/>
        </a:spcBef>
        <a:buFont typeface="Arial"/>
        <a:buChar char="•"/>
        <a:defRPr sz="27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73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44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17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91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62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35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08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79" algn="l" defTabSz="60947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915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</p:sldLayoutIdLst>
  <mc:AlternateContent xmlns:mc="http://schemas.openxmlformats.org/markup-compatibility/2006" xmlns:p14="http://schemas.microsoft.com/office/powerpoint/2010/main">
    <mc:Choice Requires="p14">
      <p:transition p14:dur="0" advClick="0" advTm="4000"/>
    </mc:Choice>
    <mc:Fallback xmlns="">
      <p:transition advClick="0" advTm="4000"/>
    </mc:Fallback>
  </mc:AlternateContent>
  <p:txStyles>
    <p:titleStyle>
      <a:lvl1pPr algn="ctr" defTabSz="914378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r" defTabSz="914378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r" defTabSz="914378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r" defTabSz="914378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r" defTabSz="914378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r" defTabSz="914378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r" defTabSz="914378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r" defTabSz="914378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r" defTabSz="914378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r" defTabSz="914378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r" defTabSz="914378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418" y="444172"/>
            <a:ext cx="8392677" cy="32177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18" y="1229883"/>
            <a:ext cx="8392677" cy="34766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229600" y="4891884"/>
            <a:ext cx="535067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>
              <a:lnSpc>
                <a:spcPct val="125000"/>
              </a:lnSpc>
            </a:pPr>
            <a:fld id="{B01BFD70-D99E-427C-A01B-19B2BB56A3C8}" type="slidenum">
              <a:rPr lang="en-US" sz="600" smtClean="0">
                <a:solidFill>
                  <a:prstClr val="black">
                    <a:tint val="75000"/>
                  </a:prstClr>
                </a:solidFill>
              </a:rPr>
              <a:pPr algn="r">
                <a:lnSpc>
                  <a:spcPct val="125000"/>
                </a:lnSpc>
              </a:pPr>
              <a:t>‹#›</a:t>
            </a:fld>
            <a:endParaRPr lang="en-US" sz="6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270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</p:sldLayoutIdLst>
  <p:hf sldNum="0" hdr="0" dt="0"/>
  <p:txStyles>
    <p:titleStyle>
      <a:lvl1pPr algn="l" defTabSz="685800" rtl="0" eaLnBrk="1" latinLnBrk="0" hangingPunct="1">
        <a:lnSpc>
          <a:spcPct val="82000"/>
        </a:lnSpc>
        <a:spcBef>
          <a:spcPct val="0"/>
        </a:spcBef>
        <a:buNone/>
        <a:defRPr sz="2550" kern="120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8000"/>
        </a:lnSpc>
        <a:spcBef>
          <a:spcPts val="1350"/>
        </a:spcBef>
        <a:buFont typeface="Tahoma" panose="020B0604030504040204" pitchFamily="34" charset="0"/>
        <a:buChar char="​"/>
        <a:defRPr sz="21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1800" kern="12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0" indent="0" algn="l" defTabSz="685800" rtl="0" eaLnBrk="1" latinLnBrk="0" hangingPunct="1">
        <a:lnSpc>
          <a:spcPct val="107000"/>
        </a:lnSpc>
        <a:spcBef>
          <a:spcPts val="900"/>
        </a:spcBef>
        <a:buFontTx/>
        <a:buNone/>
        <a:defRPr sz="1575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29779" indent="-129779" algn="l" defTabSz="685800" rtl="0" eaLnBrk="1" latinLnBrk="0" hangingPunct="1">
        <a:lnSpc>
          <a:spcPct val="107000"/>
        </a:lnSpc>
        <a:spcBef>
          <a:spcPts val="900"/>
        </a:spcBef>
        <a:buClr>
          <a:schemeClr val="accent4">
            <a:lumMod val="75000"/>
          </a:schemeClr>
        </a:buClr>
        <a:buFont typeface="Arial" panose="020B0604020202020204" pitchFamily="34" charset="0"/>
        <a:buChar char="•"/>
        <a:defRPr sz="1575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54794" indent="-123825" algn="l" defTabSz="685800" rtl="0" eaLnBrk="1" latinLnBrk="0" hangingPunct="1">
        <a:lnSpc>
          <a:spcPct val="107000"/>
        </a:lnSpc>
        <a:spcBef>
          <a:spcPts val="0"/>
        </a:spcBef>
        <a:buFont typeface="Arial" panose="020B0604020202020204" pitchFamily="34" charset="0"/>
        <a:buChar char="•"/>
        <a:defRPr sz="1575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385763" indent="-130969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6pPr>
      <a:lvl7pPr marL="470297" indent="-84535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350" kern="12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ct val="86000"/>
        </a:lnSpc>
        <a:spcBef>
          <a:spcPts val="1350"/>
        </a:spcBef>
        <a:buFontTx/>
        <a:buNone/>
        <a:defRPr sz="4125" kern="12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84000"/>
        </a:lnSpc>
        <a:spcBef>
          <a:spcPts val="1350"/>
        </a:spcBef>
        <a:buFontTx/>
        <a:buNone/>
        <a:defRPr sz="6675" kern="12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03">
          <p15:clr>
            <a:srgbClr val="F26B43"/>
          </p15:clr>
        </p15:guide>
        <p15:guide id="2" pos="309">
          <p15:clr>
            <a:srgbClr val="F26B43"/>
          </p15:clr>
        </p15:guide>
        <p15:guide id="3" orient="horz" pos="1081">
          <p15:clr>
            <a:srgbClr val="F26B43"/>
          </p15:clr>
        </p15:guide>
        <p15:guide id="4" orient="horz" pos="314">
          <p15:clr>
            <a:srgbClr val="F26B43"/>
          </p15:clr>
        </p15:guide>
        <p15:guide id="6" pos="7359">
          <p15:clr>
            <a:srgbClr val="F26B43"/>
          </p15:clr>
        </p15:guide>
        <p15:guide id="7" orient="horz" pos="41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93046" y="4767264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l">
              <a:defRPr sz="956">
                <a:solidFill>
                  <a:schemeClr val="bg1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895421" y="2201335"/>
            <a:ext cx="7353160" cy="649112"/>
          </a:xfrm>
          <a:prstGeom prst="rect">
            <a:avLst/>
          </a:prstGeom>
        </p:spPr>
        <p:txBody>
          <a:bodyPr vert="horz" lIns="162547" tIns="81273" rIns="162547" bIns="81273" rtlCol="0" anchor="ctr">
            <a:normAutofit/>
          </a:bodyPr>
          <a:lstStyle/>
          <a:p>
            <a:r>
              <a:rPr lang="en-US" dirty="0"/>
              <a:t>Subject Divider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6528325" y="4759681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r">
              <a:defRPr sz="118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32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1" r:id="rId1"/>
    <p:sldLayoutId id="2147484392" r:id="rId2"/>
    <p:sldLayoutId id="2147484393" r:id="rId3"/>
    <p:sldLayoutId id="2147484394" r:id="rId4"/>
    <p:sldLayoutId id="2147484395" r:id="rId5"/>
    <p:sldLayoutId id="2147484396" r:id="rId6"/>
    <p:sldLayoutId id="2147484397" r:id="rId7"/>
  </p:sldLayoutIdLst>
  <p:hf hdr="0" ftr="0" dt="0"/>
  <p:txStyles>
    <p:titleStyle>
      <a:lvl1pPr algn="l" defTabSz="457116" rtl="0" eaLnBrk="1" latinLnBrk="0" hangingPunct="1">
        <a:spcBef>
          <a:spcPct val="0"/>
        </a:spcBef>
        <a:buNone/>
        <a:defRPr sz="2588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837" indent="-342837" algn="l" defTabSz="457116" rtl="0" eaLnBrk="1" latinLnBrk="0" hangingPunct="1">
        <a:spcBef>
          <a:spcPct val="20000"/>
        </a:spcBef>
        <a:buFont typeface="Arial"/>
        <a:buChar char="•"/>
        <a:defRPr sz="3206" kern="1200">
          <a:solidFill>
            <a:schemeClr val="tx1"/>
          </a:solidFill>
          <a:latin typeface="+mn-lt"/>
          <a:ea typeface="+mn-ea"/>
          <a:cs typeface="+mn-cs"/>
        </a:defRPr>
      </a:lvl1pPr>
      <a:lvl2pPr marL="742814" indent="-285697" algn="l" defTabSz="457116" rtl="0" eaLnBrk="1" latinLnBrk="0" hangingPunct="1">
        <a:spcBef>
          <a:spcPct val="20000"/>
        </a:spcBef>
        <a:buFont typeface="Arial"/>
        <a:buChar char="–"/>
        <a:defRPr sz="2756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0" indent="-228558" algn="l" defTabSz="457116" rtl="0" eaLnBrk="1" latinLnBrk="0" hangingPunct="1">
        <a:spcBef>
          <a:spcPct val="20000"/>
        </a:spcBef>
        <a:buFont typeface="Arial"/>
        <a:buChar char="•"/>
        <a:defRPr sz="2419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5" indent="-228558" algn="l" defTabSz="457116" rtl="0" eaLnBrk="1" latinLnBrk="0" hangingPunct="1">
        <a:spcBef>
          <a:spcPct val="20000"/>
        </a:spcBef>
        <a:buFont typeface="Arial"/>
        <a:buChar char="–"/>
        <a:defRPr sz="2081" kern="1200">
          <a:solidFill>
            <a:schemeClr val="tx1"/>
          </a:solidFill>
          <a:latin typeface="+mn-lt"/>
          <a:ea typeface="+mn-ea"/>
          <a:cs typeface="+mn-cs"/>
        </a:defRPr>
      </a:lvl4pPr>
      <a:lvl5pPr marL="2057021" indent="-228558" algn="l" defTabSz="457116" rtl="0" eaLnBrk="1" latinLnBrk="0" hangingPunct="1">
        <a:spcBef>
          <a:spcPct val="20000"/>
        </a:spcBef>
        <a:buFont typeface="Arial"/>
        <a:buChar char="»"/>
        <a:defRPr sz="2081" kern="1200">
          <a:solidFill>
            <a:schemeClr val="tx1"/>
          </a:solidFill>
          <a:latin typeface="+mn-lt"/>
          <a:ea typeface="+mn-ea"/>
          <a:cs typeface="+mn-cs"/>
        </a:defRPr>
      </a:lvl5pPr>
      <a:lvl6pPr marL="2514137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6pPr>
      <a:lvl7pPr marL="2971252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8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8pPr>
      <a:lvl9pPr marL="3885483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6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1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7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4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9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95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11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26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93046" y="4767264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l">
              <a:defRPr sz="956">
                <a:solidFill>
                  <a:schemeClr val="bg1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895421" y="2201335"/>
            <a:ext cx="7353160" cy="649112"/>
          </a:xfrm>
          <a:prstGeom prst="rect">
            <a:avLst/>
          </a:prstGeom>
        </p:spPr>
        <p:txBody>
          <a:bodyPr vert="horz" lIns="162547" tIns="81273" rIns="162547" bIns="81273" rtlCol="0" anchor="ctr">
            <a:normAutofit/>
          </a:bodyPr>
          <a:lstStyle/>
          <a:p>
            <a:r>
              <a:rPr lang="en-US" dirty="0"/>
              <a:t>Subject Divider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6528325" y="4759681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r">
              <a:defRPr sz="118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810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0" r:id="rId1"/>
    <p:sldLayoutId id="2147484401" r:id="rId2"/>
    <p:sldLayoutId id="2147484402" r:id="rId3"/>
    <p:sldLayoutId id="2147484403" r:id="rId4"/>
    <p:sldLayoutId id="2147484404" r:id="rId5"/>
    <p:sldLayoutId id="2147484405" r:id="rId6"/>
    <p:sldLayoutId id="2147484406" r:id="rId7"/>
    <p:sldLayoutId id="2147484407" r:id="rId8"/>
    <p:sldLayoutId id="2147484408" r:id="rId9"/>
    <p:sldLayoutId id="2147484409" r:id="rId10"/>
    <p:sldLayoutId id="2147484410" r:id="rId11"/>
    <p:sldLayoutId id="2147484411" r:id="rId12"/>
  </p:sldLayoutIdLst>
  <p:hf hdr="0" ftr="0" dt="0"/>
  <p:txStyles>
    <p:titleStyle>
      <a:lvl1pPr algn="l" defTabSz="457116" rtl="0" eaLnBrk="1" latinLnBrk="0" hangingPunct="1">
        <a:spcBef>
          <a:spcPct val="0"/>
        </a:spcBef>
        <a:buNone/>
        <a:defRPr sz="2588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837" indent="-342837" algn="l" defTabSz="457116" rtl="0" eaLnBrk="1" latinLnBrk="0" hangingPunct="1">
        <a:spcBef>
          <a:spcPct val="20000"/>
        </a:spcBef>
        <a:buFont typeface="Arial"/>
        <a:buChar char="•"/>
        <a:defRPr sz="3206" kern="1200">
          <a:solidFill>
            <a:schemeClr val="tx1"/>
          </a:solidFill>
          <a:latin typeface="+mn-lt"/>
          <a:ea typeface="+mn-ea"/>
          <a:cs typeface="+mn-cs"/>
        </a:defRPr>
      </a:lvl1pPr>
      <a:lvl2pPr marL="742814" indent="-285697" algn="l" defTabSz="457116" rtl="0" eaLnBrk="1" latinLnBrk="0" hangingPunct="1">
        <a:spcBef>
          <a:spcPct val="20000"/>
        </a:spcBef>
        <a:buFont typeface="Arial"/>
        <a:buChar char="–"/>
        <a:defRPr sz="2756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0" indent="-228558" algn="l" defTabSz="457116" rtl="0" eaLnBrk="1" latinLnBrk="0" hangingPunct="1">
        <a:spcBef>
          <a:spcPct val="20000"/>
        </a:spcBef>
        <a:buFont typeface="Arial"/>
        <a:buChar char="•"/>
        <a:defRPr sz="2419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5" indent="-228558" algn="l" defTabSz="457116" rtl="0" eaLnBrk="1" latinLnBrk="0" hangingPunct="1">
        <a:spcBef>
          <a:spcPct val="20000"/>
        </a:spcBef>
        <a:buFont typeface="Arial"/>
        <a:buChar char="–"/>
        <a:defRPr sz="2081" kern="1200">
          <a:solidFill>
            <a:schemeClr val="tx1"/>
          </a:solidFill>
          <a:latin typeface="+mn-lt"/>
          <a:ea typeface="+mn-ea"/>
          <a:cs typeface="+mn-cs"/>
        </a:defRPr>
      </a:lvl4pPr>
      <a:lvl5pPr marL="2057021" indent="-228558" algn="l" defTabSz="457116" rtl="0" eaLnBrk="1" latinLnBrk="0" hangingPunct="1">
        <a:spcBef>
          <a:spcPct val="20000"/>
        </a:spcBef>
        <a:buFont typeface="Arial"/>
        <a:buChar char="»"/>
        <a:defRPr sz="2081" kern="1200">
          <a:solidFill>
            <a:schemeClr val="tx1"/>
          </a:solidFill>
          <a:latin typeface="+mn-lt"/>
          <a:ea typeface="+mn-ea"/>
          <a:cs typeface="+mn-cs"/>
        </a:defRPr>
      </a:lvl5pPr>
      <a:lvl6pPr marL="2514137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6pPr>
      <a:lvl7pPr marL="2971252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8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8pPr>
      <a:lvl9pPr marL="3885483" indent="-228558" algn="l" defTabSz="457116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6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1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7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4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9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95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11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26" algn="l" defTabSz="4571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93046" y="4767265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l">
              <a:defRPr sz="956">
                <a:solidFill>
                  <a:schemeClr val="bg1"/>
                </a:solidFill>
              </a:defRPr>
            </a:lvl1pPr>
          </a:lstStyle>
          <a:p>
            <a:fld id="{C48D9196-7146-4672-A4BA-DB29036C6B4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895422" y="2201335"/>
            <a:ext cx="7353160" cy="649112"/>
          </a:xfrm>
          <a:prstGeom prst="rect">
            <a:avLst/>
          </a:prstGeom>
        </p:spPr>
        <p:txBody>
          <a:bodyPr vert="horz" lIns="162547" tIns="81273" rIns="162547" bIns="81273" rtlCol="0" anchor="ctr">
            <a:normAutofit/>
          </a:bodyPr>
          <a:lstStyle/>
          <a:p>
            <a:r>
              <a:rPr lang="en-US" dirty="0"/>
              <a:t>Subject Divider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2"/>
          </p:nvPr>
        </p:nvSpPr>
        <p:spPr>
          <a:xfrm>
            <a:off x="6528325" y="4759682"/>
            <a:ext cx="2133600" cy="274637"/>
          </a:xfrm>
          <a:prstGeom prst="rect">
            <a:avLst/>
          </a:prstGeom>
        </p:spPr>
        <p:txBody>
          <a:bodyPr vert="horz" lIns="162547" tIns="81273" rIns="162547" bIns="81273" rtlCol="0" anchor="ctr"/>
          <a:lstStyle>
            <a:lvl1pPr algn="r">
              <a:defRPr sz="1181">
                <a:solidFill>
                  <a:schemeClr val="bg1"/>
                </a:solidFill>
              </a:defRPr>
            </a:lvl1pPr>
          </a:lstStyle>
          <a:p>
            <a:fld id="{6F608DB8-9692-5242-ABBC-2F0A48AC2060}" type="datetime1">
              <a:rPr lang="en-US" smtClean="0"/>
              <a:t>5/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66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  <p:sldLayoutId id="2147484433" r:id="rId9"/>
  </p:sldLayoutIdLst>
  <p:hf hdr="0" ftr="0" dt="0"/>
  <p:txStyles>
    <p:titleStyle>
      <a:lvl1pPr algn="l" defTabSz="457105" rtl="0" eaLnBrk="1" latinLnBrk="0" hangingPunct="1">
        <a:spcBef>
          <a:spcPct val="0"/>
        </a:spcBef>
        <a:buNone/>
        <a:defRPr sz="2588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829" indent="-342829" algn="l" defTabSz="457105" rtl="0" eaLnBrk="1" latinLnBrk="0" hangingPunct="1">
        <a:spcBef>
          <a:spcPct val="20000"/>
        </a:spcBef>
        <a:buFont typeface="Arial"/>
        <a:buChar char="•"/>
        <a:defRPr sz="3206" kern="1200">
          <a:solidFill>
            <a:schemeClr val="tx1"/>
          </a:solidFill>
          <a:latin typeface="+mn-lt"/>
          <a:ea typeface="+mn-ea"/>
          <a:cs typeface="+mn-cs"/>
        </a:defRPr>
      </a:lvl1pPr>
      <a:lvl2pPr marL="742796" indent="-285690" algn="l" defTabSz="457105" rtl="0" eaLnBrk="1" latinLnBrk="0" hangingPunct="1">
        <a:spcBef>
          <a:spcPct val="20000"/>
        </a:spcBef>
        <a:buFont typeface="Arial"/>
        <a:buChar char="–"/>
        <a:defRPr sz="2756" kern="1200">
          <a:solidFill>
            <a:schemeClr val="tx1"/>
          </a:solidFill>
          <a:latin typeface="+mn-lt"/>
          <a:ea typeface="+mn-ea"/>
          <a:cs typeface="+mn-cs"/>
        </a:defRPr>
      </a:lvl2pPr>
      <a:lvl3pPr marL="1142762" indent="-228552" algn="l" defTabSz="457105" rtl="0" eaLnBrk="1" latinLnBrk="0" hangingPunct="1">
        <a:spcBef>
          <a:spcPct val="20000"/>
        </a:spcBef>
        <a:buFont typeface="Arial"/>
        <a:buChar char="•"/>
        <a:defRPr sz="2419" kern="1200">
          <a:solidFill>
            <a:schemeClr val="tx1"/>
          </a:solidFill>
          <a:latin typeface="+mn-lt"/>
          <a:ea typeface="+mn-ea"/>
          <a:cs typeface="+mn-cs"/>
        </a:defRPr>
      </a:lvl3pPr>
      <a:lvl4pPr marL="1599865" indent="-228552" algn="l" defTabSz="457105" rtl="0" eaLnBrk="1" latinLnBrk="0" hangingPunct="1">
        <a:spcBef>
          <a:spcPct val="20000"/>
        </a:spcBef>
        <a:buFont typeface="Arial"/>
        <a:buChar char="–"/>
        <a:defRPr sz="2081" kern="1200">
          <a:solidFill>
            <a:schemeClr val="tx1"/>
          </a:solidFill>
          <a:latin typeface="+mn-lt"/>
          <a:ea typeface="+mn-ea"/>
          <a:cs typeface="+mn-cs"/>
        </a:defRPr>
      </a:lvl4pPr>
      <a:lvl5pPr marL="2056970" indent="-228552" algn="l" defTabSz="457105" rtl="0" eaLnBrk="1" latinLnBrk="0" hangingPunct="1">
        <a:spcBef>
          <a:spcPct val="20000"/>
        </a:spcBef>
        <a:buFont typeface="Arial"/>
        <a:buChar char="»"/>
        <a:defRPr sz="2081" kern="1200">
          <a:solidFill>
            <a:schemeClr val="tx1"/>
          </a:solidFill>
          <a:latin typeface="+mn-lt"/>
          <a:ea typeface="+mn-ea"/>
          <a:cs typeface="+mn-cs"/>
        </a:defRPr>
      </a:lvl5pPr>
      <a:lvl6pPr marL="2514074" indent="-228552" algn="l" defTabSz="457105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78" indent="-228552" algn="l" defTabSz="457105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2" indent="-228552" algn="l" defTabSz="457105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6" indent="-228552" algn="l" defTabSz="457105" rtl="0" eaLnBrk="1" latinLnBrk="0" hangingPunct="1">
        <a:spcBef>
          <a:spcPct val="20000"/>
        </a:spcBef>
        <a:buFont typeface="Arial"/>
        <a:buChar char="•"/>
        <a:defRPr sz="208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5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8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3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8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2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6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1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4" algn="l" defTabSz="4571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Content Placeholder 1"/>
          <p:cNvSpPr>
            <a:spLocks noGrp="1"/>
          </p:cNvSpPr>
          <p:nvPr>
            <p:ph type="body" sz="quarter" idx="12"/>
          </p:nvPr>
        </p:nvSpPr>
        <p:spPr>
          <a:xfrm>
            <a:off x="2105784" y="3760471"/>
            <a:ext cx="6690341" cy="1240276"/>
          </a:xfrm>
        </p:spPr>
        <p:txBody>
          <a:bodyPr/>
          <a:lstStyle/>
          <a:p>
            <a:r>
              <a:rPr lang="en-US" altLang="zh-CN" sz="2400" b="1" dirty="0">
                <a:solidFill>
                  <a:schemeClr val="bg2"/>
                </a:solidFill>
              </a:rPr>
              <a:t>IronGate Display Requirement on EPU BSP</a:t>
            </a:r>
            <a:endParaRPr lang="en-US" sz="1400" b="1" dirty="0">
              <a:solidFill>
                <a:schemeClr val="bg2"/>
              </a:solidFill>
            </a:endParaRPr>
          </a:p>
          <a:p>
            <a:r>
              <a:rPr lang="en-US" sz="1600" b="1" dirty="0">
                <a:solidFill>
                  <a:schemeClr val="bg2"/>
                </a:solidFill>
              </a:rPr>
              <a:t>Donny Tang</a:t>
            </a:r>
          </a:p>
          <a:p>
            <a:r>
              <a:rPr lang="en-US" altLang="zh-CN" sz="1600" b="1" dirty="0">
                <a:solidFill>
                  <a:schemeClr val="bg2"/>
                </a:solidFill>
              </a:rPr>
              <a:t>May 2</a:t>
            </a:r>
            <a:r>
              <a:rPr lang="en-US" altLang="zh-CN" sz="1600" b="1" baseline="30000" dirty="0">
                <a:solidFill>
                  <a:schemeClr val="bg2"/>
                </a:solidFill>
              </a:rPr>
              <a:t>nd</a:t>
            </a:r>
            <a:r>
              <a:rPr lang="en-US" altLang="zh-CN" sz="1600" b="1" dirty="0">
                <a:solidFill>
                  <a:schemeClr val="bg2"/>
                </a:solidFill>
              </a:rPr>
              <a:t>. </a:t>
            </a:r>
            <a:r>
              <a:rPr lang="en-US" sz="1600" b="1" dirty="0">
                <a:solidFill>
                  <a:schemeClr val="bg2"/>
                </a:solidFill>
              </a:rPr>
              <a:t>2018</a:t>
            </a:r>
            <a:endParaRPr lang="en-GB" altLang="en-US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D9196-7146-4672-A4BA-DB29036C6B41}" type="slidenum">
              <a:rPr lang="en-US" smtClean="0"/>
              <a:t>2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60922" y="916286"/>
            <a:ext cx="8291588" cy="3987183"/>
          </a:xfrm>
        </p:spPr>
        <p:txBody>
          <a:bodyPr/>
          <a:lstStyle/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ronGate Display HW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ronGate POC HMD has two 720p light engines – OE33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ronGate EVT HMD has two 1080p engines - Vision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The engines are connected to EPU SD835, thru DP over USB-C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There’s an HDMI extension port on EPU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70C0"/>
              </a:solidFill>
            </a:endParaRP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PU Display Software Basic Goals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 both HMD &amp; HDMI extension simultaneously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 both POC &amp; EVT HMD, and switch resolution automatically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ronGate Display Backgrou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748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D9196-7146-4672-A4BA-DB29036C6B41}" type="slidenum">
              <a:rPr lang="en-US" smtClean="0"/>
              <a:t>3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60922" y="916286"/>
            <a:ext cx="8291588" cy="3987183"/>
          </a:xfrm>
        </p:spPr>
        <p:txBody>
          <a:bodyPr/>
          <a:lstStyle/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Always 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t DP port (HMD) as primary display, </a:t>
            </a:r>
            <a:r>
              <a:rPr lang="en-US" altLang="zh-CN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gardless whether there’s a DP display connected; set 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HDMI port as secondary display, if detected </a:t>
            </a: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t EPU primary framebuffer according to the HMD display EDID resolution respectively</a:t>
            </a:r>
          </a:p>
          <a:p>
            <a:pPr marL="908526" lvl="2">
              <a:spcBef>
                <a:spcPts val="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3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720p engine  -&gt; frame buffer 2560 x 720</a:t>
            </a:r>
          </a:p>
          <a:p>
            <a:pPr marL="908526" lvl="2">
              <a:spcBef>
                <a:spcPts val="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3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1080p engine -&gt; frame buffer 3840 x 1080</a:t>
            </a: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t secondary frame buffer according to HDMI display EDID resolution detected, including …… (</a:t>
            </a:r>
            <a:r>
              <a:rPr lang="en-US" altLang="zh-CN" sz="1800" dirty="0">
                <a:solidFill>
                  <a:srgbClr val="FF0000"/>
                </a:solidFill>
              </a:rPr>
              <a:t>we need a set of resolutions here</a:t>
            </a:r>
            <a:r>
              <a:rPr lang="en-US" altLang="zh-CN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)</a:t>
            </a: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No need to define secondary frame buffer if no HDMI display detected</a:t>
            </a: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altLang="zh-CN" sz="1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altLang="zh-CN" sz="1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W Requirement to EPU BSP #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8922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D9196-7146-4672-A4BA-DB29036C6B41}" type="slidenum">
              <a:rPr lang="en-US" smtClean="0"/>
              <a:t>4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60922" y="916286"/>
            <a:ext cx="8291588" cy="3987183"/>
          </a:xfrm>
        </p:spPr>
        <p:txBody>
          <a:bodyPr/>
          <a:lstStyle/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ebug Mode</a:t>
            </a:r>
          </a:p>
          <a:p>
            <a:pPr marL="908526" lvl="2">
              <a:spcBef>
                <a:spcPts val="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63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t EPU primary framebuffer to 3840 x 1080 for App development without HMD, if there’s no DP display detected</a:t>
            </a:r>
          </a:p>
          <a:p>
            <a:pPr marL="908526" lvl="2">
              <a:spcBef>
                <a:spcPts val="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altLang="zh-CN" sz="163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t EPU primary framebuffer to 3840 x 1080 for App development, if a normal 16:9 or 4:3 LCD monitor is detected on DP port (over USB-C)</a:t>
            </a: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altLang="zh-CN" sz="1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altLang="zh-CN" sz="1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W Requirement to EPU BSP #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661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48D9196-7146-4672-A4BA-DB29036C6B41}" type="slidenum">
              <a:rPr lang="en-US" sz="1350" kern="0">
                <a:solidFill>
                  <a:sysClr val="windowText" lastClr="00000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5</a:t>
            </a:fld>
            <a:endParaRPr lang="en-US" sz="1350" kern="0">
              <a:solidFill>
                <a:sysClr val="windowText" lastClr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8042" y="1851538"/>
            <a:ext cx="879450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33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ND</a:t>
            </a:r>
            <a:endParaRPr lang="en-US" sz="2325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6509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16" descr="HOLOLENS 的图像结果"/>
          <p:cNvSpPr>
            <a:spLocks noChangeAspect="1" noChangeArrowheads="1"/>
          </p:cNvSpPr>
          <p:nvPr/>
        </p:nvSpPr>
        <p:spPr bwMode="auto">
          <a:xfrm>
            <a:off x="173219" y="4715"/>
            <a:ext cx="171433" cy="171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0" tIns="25715" rIns="51430" bIns="25715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5" name="Title 5"/>
          <p:cNvSpPr txBox="1">
            <a:spLocks/>
          </p:cNvSpPr>
          <p:nvPr/>
        </p:nvSpPr>
        <p:spPr>
          <a:xfrm>
            <a:off x="205096" y="240375"/>
            <a:ext cx="8787914" cy="470912"/>
          </a:xfrm>
          <a:prstGeom prst="rect">
            <a:avLst/>
          </a:prstGeom>
        </p:spPr>
        <p:txBody>
          <a:bodyPr vert="horz" lIns="91424" tIns="45712" rIns="91424" bIns="45712" rtlCol="0" anchor="ctr">
            <a:noAutofit/>
          </a:bodyPr>
          <a:lstStyle>
            <a:lvl1pPr algn="l" defTabSz="812731" rtl="0" eaLnBrk="1" latinLnBrk="0" hangingPunct="1">
              <a:spcBef>
                <a:spcPct val="0"/>
              </a:spcBef>
              <a:buNone/>
              <a:defRPr sz="4000" b="1" kern="1200">
                <a:solidFill>
                  <a:srgbClr val="009BD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50" dirty="0"/>
              <a:t>H</a:t>
            </a:r>
            <a:r>
              <a:rPr lang="en-US" altLang="zh-CN" sz="2250" dirty="0"/>
              <a:t>W</a:t>
            </a:r>
            <a:r>
              <a:rPr lang="en-US" sz="2250" dirty="0"/>
              <a:t> Architecture w/ EPU </a:t>
            </a:r>
            <a:r>
              <a:rPr lang="en-US" altLang="zh-CN" sz="2250" dirty="0"/>
              <a:t>D</a:t>
            </a:r>
            <a:r>
              <a:rPr lang="en-US" sz="2250" dirty="0"/>
              <a:t>esig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2B27340-FCD5-4409-BA4E-E6B75E25F845}"/>
              </a:ext>
            </a:extLst>
          </p:cNvPr>
          <p:cNvGrpSpPr/>
          <p:nvPr/>
        </p:nvGrpSpPr>
        <p:grpSpPr>
          <a:xfrm>
            <a:off x="1143000" y="813647"/>
            <a:ext cx="7079379" cy="3397405"/>
            <a:chOff x="1969776" y="813648"/>
            <a:chExt cx="6252603" cy="2742980"/>
          </a:xfrm>
        </p:grpSpPr>
        <p:sp>
          <p:nvSpPr>
            <p:cNvPr id="18" name="Rectangle 17"/>
            <p:cNvSpPr/>
            <p:nvPr/>
          </p:nvSpPr>
          <p:spPr>
            <a:xfrm>
              <a:off x="3359974" y="1337779"/>
              <a:ext cx="1130244" cy="438446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25" u="sng" dirty="0"/>
                <a:t>Dual</a:t>
              </a:r>
              <a:r>
                <a:rPr lang="en-US" sz="1350" u="sng" dirty="0"/>
                <a:t> </a:t>
              </a:r>
              <a:r>
                <a:rPr lang="en-US" sz="1125" u="sng" dirty="0"/>
                <a:t>Display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000790" y="2731901"/>
              <a:ext cx="61716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u="sng" dirty="0"/>
                <a:t>DP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050912" y="826714"/>
              <a:ext cx="94298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HMD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708411" y="2723064"/>
              <a:ext cx="103314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u="sng" dirty="0"/>
                <a:t>DP over USB-C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3314273" y="3197566"/>
              <a:ext cx="59155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u="sng" dirty="0"/>
                <a:t>USB3.0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15612" y="2126388"/>
              <a:ext cx="1055991" cy="469197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25" u="sng" dirty="0"/>
                <a:t>DP</a:t>
              </a:r>
              <a:r>
                <a:rPr lang="en-US" sz="1350" u="sng" dirty="0"/>
                <a:t> </a:t>
              </a:r>
              <a:r>
                <a:rPr lang="en-US" sz="1125" u="sng" dirty="0"/>
                <a:t>Bridge</a:t>
              </a:r>
            </a:p>
          </p:txBody>
        </p:sp>
        <p:sp>
          <p:nvSpPr>
            <p:cNvPr id="41" name="Down Arrow 40"/>
            <p:cNvSpPr/>
            <p:nvPr/>
          </p:nvSpPr>
          <p:spPr>
            <a:xfrm rot="10800000">
              <a:off x="3822235" y="1761315"/>
              <a:ext cx="209757" cy="337205"/>
            </a:xfrm>
            <a:prstGeom prst="downArrow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u="sng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143440" y="1292623"/>
              <a:ext cx="1075384" cy="2096220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u="sng" dirty="0"/>
                <a:t>SD835</a:t>
              </a:r>
            </a:p>
          </p:txBody>
        </p:sp>
        <p:cxnSp>
          <p:nvCxnSpPr>
            <p:cNvPr id="53" name="Straight Connector 52"/>
            <p:cNvCxnSpPr/>
            <p:nvPr/>
          </p:nvCxnSpPr>
          <p:spPr>
            <a:xfrm>
              <a:off x="1969776" y="1144628"/>
              <a:ext cx="24352" cy="24120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V="1">
              <a:off x="1969777" y="1134289"/>
              <a:ext cx="2736000" cy="2747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1969777" y="3554940"/>
              <a:ext cx="2736000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4719000" y="1143690"/>
              <a:ext cx="0" cy="24120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Left-Right Arrow 69"/>
            <p:cNvSpPr/>
            <p:nvPr/>
          </p:nvSpPr>
          <p:spPr>
            <a:xfrm>
              <a:off x="3232484" y="3020288"/>
              <a:ext cx="2757498" cy="181837"/>
            </a:xfrm>
            <a:prstGeom prst="leftRightArrow">
              <a:avLst/>
            </a:prstGeom>
            <a:solidFill>
              <a:schemeClr val="accent4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u="sng"/>
            </a:p>
          </p:txBody>
        </p:sp>
        <p:sp>
          <p:nvSpPr>
            <p:cNvPr id="75" name="TextBox 33"/>
            <p:cNvSpPr txBox="1"/>
            <p:nvPr/>
          </p:nvSpPr>
          <p:spPr>
            <a:xfrm>
              <a:off x="6525242" y="813648"/>
              <a:ext cx="942983" cy="343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5448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50896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76343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901788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27234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2684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78128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03577" algn="l" defTabSz="1450896" rtl="0" eaLnBrk="1" latinLnBrk="0" hangingPunct="1"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/>
                <a:t>EPU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983780" y="1250801"/>
              <a:ext cx="864000" cy="2138043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725448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450896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176343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901788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27234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4352684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5078128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803577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350" u="sng" dirty="0"/>
                <a:t>SD835</a:t>
              </a:r>
            </a:p>
            <a:p>
              <a:pPr algn="ctr"/>
              <a:endParaRPr lang="en-US" sz="1350" u="sng" dirty="0"/>
            </a:p>
            <a:p>
              <a:pPr algn="ctr"/>
              <a:endParaRPr lang="en-US" sz="1350" u="sng" dirty="0"/>
            </a:p>
            <a:p>
              <a:pPr algn="ctr"/>
              <a:endParaRPr lang="en-US" sz="1350" u="sng" dirty="0"/>
            </a:p>
          </p:txBody>
        </p:sp>
        <p:cxnSp>
          <p:nvCxnSpPr>
            <p:cNvPr id="87" name="Straight Connector 86"/>
            <p:cNvCxnSpPr/>
            <p:nvPr/>
          </p:nvCxnSpPr>
          <p:spPr>
            <a:xfrm>
              <a:off x="5559250" y="1133506"/>
              <a:ext cx="24352" cy="24120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flipV="1">
              <a:off x="5565818" y="1112961"/>
              <a:ext cx="2628000" cy="1880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 flipV="1">
              <a:off x="5583602" y="3533618"/>
              <a:ext cx="2628000" cy="940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>
              <a:off x="8222379" y="1122362"/>
              <a:ext cx="0" cy="241200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Rectangle 107"/>
            <p:cNvSpPr/>
            <p:nvPr/>
          </p:nvSpPr>
          <p:spPr>
            <a:xfrm>
              <a:off x="7156101" y="2193169"/>
              <a:ext cx="792000" cy="552015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725448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450896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2176343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901788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27234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4352684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5078128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803577" algn="l" defTabSz="1450896" rtl="0" eaLnBrk="1" latinLnBrk="0" hangingPunct="1">
                <a:defRPr sz="2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25" u="sng" dirty="0"/>
                <a:t>HDMI out</a:t>
              </a:r>
            </a:p>
          </p:txBody>
        </p:sp>
        <p:sp>
          <p:nvSpPr>
            <p:cNvPr id="110" name="Right Arrow 109"/>
            <p:cNvSpPr/>
            <p:nvPr/>
          </p:nvSpPr>
          <p:spPr>
            <a:xfrm>
              <a:off x="6856023" y="2380368"/>
              <a:ext cx="288000" cy="180000"/>
            </a:xfrm>
            <a:prstGeom prst="rightArrow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u="sng"/>
            </a:p>
          </p:txBody>
        </p:sp>
        <p:sp>
          <p:nvSpPr>
            <p:cNvPr id="5" name="Bent-Up Arrow 4"/>
            <p:cNvSpPr/>
            <p:nvPr/>
          </p:nvSpPr>
          <p:spPr>
            <a:xfrm rot="10800000" flipV="1">
              <a:off x="3846890" y="2600413"/>
              <a:ext cx="2123459" cy="408277"/>
            </a:xfrm>
            <a:prstGeom prst="bentUpArrow">
              <a:avLst/>
            </a:prstGeom>
            <a:solidFill>
              <a:schemeClr val="accent4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u="sng"/>
            </a:p>
          </p:txBody>
        </p:sp>
        <p:sp>
          <p:nvSpPr>
            <p:cNvPr id="7" name="Rectangle 6"/>
            <p:cNvSpPr/>
            <p:nvPr/>
          </p:nvSpPr>
          <p:spPr>
            <a:xfrm>
              <a:off x="4408284" y="2723064"/>
              <a:ext cx="1410651" cy="560856"/>
            </a:xfrm>
            <a:prstGeom prst="rect">
              <a:avLst/>
            </a:prstGeom>
            <a:noFill/>
            <a:ln>
              <a:solidFill>
                <a:schemeClr val="accent1">
                  <a:shade val="95000"/>
                  <a:satMod val="10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u="sng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000572" y="2801065"/>
              <a:ext cx="605784" cy="438446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25" u="sng" dirty="0"/>
                <a:t>Type 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2647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lex_template_3.0">
  <a:themeElements>
    <a:clrScheme name="Custom 2">
      <a:dk1>
        <a:srgbClr val="777779"/>
      </a:dk1>
      <a:lt1>
        <a:srgbClr val="009ADD"/>
      </a:lt1>
      <a:dk2>
        <a:srgbClr val="000000"/>
      </a:dk2>
      <a:lt2>
        <a:srgbClr val="FFFFFF"/>
      </a:lt2>
      <a:accent1>
        <a:srgbClr val="005486"/>
      </a:accent1>
      <a:accent2>
        <a:srgbClr val="9E1B64"/>
      </a:accent2>
      <a:accent3>
        <a:srgbClr val="D03238"/>
      </a:accent3>
      <a:accent4>
        <a:srgbClr val="F58021"/>
      </a:accent4>
      <a:accent5>
        <a:srgbClr val="F9C20A"/>
      </a:accent5>
      <a:accent6>
        <a:srgbClr val="82BC00"/>
      </a:accent6>
      <a:hlink>
        <a:srgbClr val="777779"/>
      </a:hlink>
      <a:folHlink>
        <a:srgbClr val="6A478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lex_Template.potx" id="{DDFD8BA3-372C-4240-A5C7-AB15EEF93ADA}" vid="{11397A23-8C8C-4751-BD1C-6F8AF9C25832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DA_16x9_CorporateTemplate_Confidential_InternalUse_Final_D">
  <a:themeElements>
    <a:clrScheme name="Qualcomm Template">
      <a:dk1>
        <a:sysClr val="windowText" lastClr="000000"/>
      </a:dk1>
      <a:lt1>
        <a:sysClr val="window" lastClr="FFFFFF"/>
      </a:lt1>
      <a:dk2>
        <a:srgbClr val="0033A0"/>
      </a:dk2>
      <a:lt2>
        <a:srgbClr val="C6007E"/>
      </a:lt2>
      <a:accent1>
        <a:srgbClr val="FFB700"/>
      </a:accent1>
      <a:accent2>
        <a:srgbClr val="F38B00"/>
      </a:accent2>
      <a:accent3>
        <a:srgbClr val="E23B1A"/>
      </a:accent3>
      <a:accent4>
        <a:srgbClr val="A2DAD6"/>
      </a:accent4>
      <a:accent5>
        <a:srgbClr val="116182"/>
      </a:accent5>
      <a:accent6>
        <a:srgbClr val="7A4183"/>
      </a:accent6>
      <a:hlink>
        <a:srgbClr val="5EBEB8"/>
      </a:hlink>
      <a:folHlink>
        <a:srgbClr val="368782"/>
      </a:folHlink>
    </a:clrScheme>
    <a:fontScheme name="Qualcom-2015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7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accent4">
              <a:lumMod val="75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50" dirty="0" err="1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AL_16x9_StandardTemplate_Confidential" id="{B7E909E1-5FDF-469B-A16C-032588C1DA3D}" vid="{EB525942-B10F-4530-BFF7-0ECC1DD559B8}"/>
    </a:ext>
  </a:extLst>
</a:theme>
</file>

<file path=ppt/theme/theme4.xml><?xml version="1.0" encoding="utf-8"?>
<a:theme xmlns:a="http://schemas.openxmlformats.org/drawingml/2006/main" name="7_Flex_template_3.0">
  <a:themeElements>
    <a:clrScheme name="Custom 2">
      <a:dk1>
        <a:srgbClr val="777779"/>
      </a:dk1>
      <a:lt1>
        <a:srgbClr val="009ADD"/>
      </a:lt1>
      <a:dk2>
        <a:srgbClr val="000000"/>
      </a:dk2>
      <a:lt2>
        <a:srgbClr val="FFFFFF"/>
      </a:lt2>
      <a:accent1>
        <a:srgbClr val="005486"/>
      </a:accent1>
      <a:accent2>
        <a:srgbClr val="9E1B64"/>
      </a:accent2>
      <a:accent3>
        <a:srgbClr val="D03238"/>
      </a:accent3>
      <a:accent4>
        <a:srgbClr val="F58021"/>
      </a:accent4>
      <a:accent5>
        <a:srgbClr val="F9C20A"/>
      </a:accent5>
      <a:accent6>
        <a:srgbClr val="82BC00"/>
      </a:accent6>
      <a:hlink>
        <a:srgbClr val="777779"/>
      </a:hlink>
      <a:folHlink>
        <a:srgbClr val="6A478D"/>
      </a:folHlink>
    </a:clrScheme>
    <a:fontScheme name="Custom 6">
      <a:majorFont>
        <a:latin typeface="ITC Avant Garde Pro Md"/>
        <a:ea typeface=""/>
        <a:cs typeface=""/>
      </a:majorFont>
      <a:minorFont>
        <a:latin typeface="ITC Avant Garde Pro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9517F72F-5E73-4B0A-969D-11EB0F2DD5F1}" vid="{0DEC5FDE-CDC8-4A53-BA91-3FA89AABE0ED}"/>
    </a:ext>
  </a:extLst>
</a:theme>
</file>

<file path=ppt/theme/theme5.xml><?xml version="1.0" encoding="utf-8"?>
<a:theme xmlns:a="http://schemas.openxmlformats.org/drawingml/2006/main" name="3_Flex_template_3.0">
  <a:themeElements>
    <a:clrScheme name="Custom 2">
      <a:dk1>
        <a:srgbClr val="777779"/>
      </a:dk1>
      <a:lt1>
        <a:srgbClr val="009ADD"/>
      </a:lt1>
      <a:dk2>
        <a:srgbClr val="000000"/>
      </a:dk2>
      <a:lt2>
        <a:srgbClr val="FFFFFF"/>
      </a:lt2>
      <a:accent1>
        <a:srgbClr val="005486"/>
      </a:accent1>
      <a:accent2>
        <a:srgbClr val="9E1B64"/>
      </a:accent2>
      <a:accent3>
        <a:srgbClr val="D03238"/>
      </a:accent3>
      <a:accent4>
        <a:srgbClr val="F58021"/>
      </a:accent4>
      <a:accent5>
        <a:srgbClr val="F9C20A"/>
      </a:accent5>
      <a:accent6>
        <a:srgbClr val="82BC00"/>
      </a:accent6>
      <a:hlink>
        <a:srgbClr val="777779"/>
      </a:hlink>
      <a:folHlink>
        <a:srgbClr val="6A478D"/>
      </a:folHlink>
    </a:clrScheme>
    <a:fontScheme name="Custom 6">
      <a:majorFont>
        <a:latin typeface="ITC Avant Garde Pro Md"/>
        <a:ea typeface=""/>
        <a:cs typeface=""/>
      </a:majorFont>
      <a:minorFont>
        <a:latin typeface="ITC Avant Garde Pro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lex_Presentation_Template.potx" id="{DA78E3F9-EFAE-4B75-BF6B-12C7C30CAA5B}" vid="{8CF131D4-14C4-42E7-B300-2ED847BFC66D}"/>
    </a:ext>
  </a:extLst>
</a:theme>
</file>

<file path=ppt/theme/theme6.xml><?xml version="1.0" encoding="utf-8"?>
<a:theme xmlns:a="http://schemas.openxmlformats.org/drawingml/2006/main" name="6_Flex_template_3.0">
  <a:themeElements>
    <a:clrScheme name="Custom 2">
      <a:dk1>
        <a:srgbClr val="777779"/>
      </a:dk1>
      <a:lt1>
        <a:srgbClr val="009ADD"/>
      </a:lt1>
      <a:dk2>
        <a:srgbClr val="000000"/>
      </a:dk2>
      <a:lt2>
        <a:srgbClr val="FFFFFF"/>
      </a:lt2>
      <a:accent1>
        <a:srgbClr val="005486"/>
      </a:accent1>
      <a:accent2>
        <a:srgbClr val="9E1B64"/>
      </a:accent2>
      <a:accent3>
        <a:srgbClr val="D03238"/>
      </a:accent3>
      <a:accent4>
        <a:srgbClr val="F58021"/>
      </a:accent4>
      <a:accent5>
        <a:srgbClr val="F9C20A"/>
      </a:accent5>
      <a:accent6>
        <a:srgbClr val="82BC00"/>
      </a:accent6>
      <a:hlink>
        <a:srgbClr val="777779"/>
      </a:hlink>
      <a:folHlink>
        <a:srgbClr val="6A478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lex_Template [Read-Only]" id="{F0C6915F-3015-46B2-831B-82669F5E7FFF}" vid="{B3DD6DDB-9078-4FDC-8051-FCB06350DC23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ex_Template</Template>
  <TotalTime>36271</TotalTime>
  <Words>264</Words>
  <Application>Microsoft Office PowerPoint</Application>
  <PresentationFormat>On-screen Show (16:9)</PresentationFormat>
  <Paragraphs>45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5" baseType="lpstr">
      <vt:lpstr>ITC Avant Garde Pro Bk</vt:lpstr>
      <vt:lpstr>ITC Avant Garde Pro Md</vt:lpstr>
      <vt:lpstr>ITC Avant Garde Std Bk</vt:lpstr>
      <vt:lpstr>ITC Avant Garde Std Md</vt:lpstr>
      <vt:lpstr>MS PGothic</vt:lpstr>
      <vt:lpstr>Qualcomm Office Regular</vt:lpstr>
      <vt:lpstr>Qualcomm Regular</vt:lpstr>
      <vt:lpstr>黑体</vt:lpstr>
      <vt:lpstr>Arial</vt:lpstr>
      <vt:lpstr>Calibri</vt:lpstr>
      <vt:lpstr>Microsoft Sans Serif</vt:lpstr>
      <vt:lpstr>Tahoma</vt:lpstr>
      <vt:lpstr>Flex_template_3.0</vt:lpstr>
      <vt:lpstr>2_Office Theme</vt:lpstr>
      <vt:lpstr>NDA_16x9_CorporateTemplate_Confidential_InternalUse_Final_D</vt:lpstr>
      <vt:lpstr>7_Flex_template_3.0</vt:lpstr>
      <vt:lpstr>3_Flex_template_3.0</vt:lpstr>
      <vt:lpstr>6_Flex_template_3.0</vt:lpstr>
      <vt:lpstr>think-cell Slide</vt:lpstr>
      <vt:lpstr>PowerPoint Presentation</vt:lpstr>
      <vt:lpstr>IronGate Display Background</vt:lpstr>
      <vt:lpstr>SW Requirement to EPU BSP #1</vt:lpstr>
      <vt:lpstr>SW Requirement to EPU BSP #2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ss Mini</dc:creator>
  <cp:lastModifiedBy>Donny Tang</cp:lastModifiedBy>
  <cp:revision>1102</cp:revision>
  <dcterms:created xsi:type="dcterms:W3CDTF">2011-10-07T12:33:30Z</dcterms:created>
  <dcterms:modified xsi:type="dcterms:W3CDTF">2018-05-03T04:25:46Z</dcterms:modified>
</cp:coreProperties>
</file>